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  <p:sldMasterId id="2147483694" r:id="rId5"/>
    <p:sldMasterId id="2147483696" r:id="rId6"/>
    <p:sldMasterId id="2147483700" r:id="rId7"/>
    <p:sldMasterId id="2147483703" r:id="rId8"/>
    <p:sldMasterId id="2147483706" r:id="rId9"/>
    <p:sldMasterId id="2147483709" r:id="rId10"/>
    <p:sldMasterId id="2147483716" r:id="rId11"/>
    <p:sldMasterId id="2147483730" r:id="rId12"/>
  </p:sldMasterIdLst>
  <p:notesMasterIdLst>
    <p:notesMasterId r:id="rId29"/>
  </p:notesMasterIdLst>
  <p:sldIdLst>
    <p:sldId id="2145706148" r:id="rId13"/>
    <p:sldId id="2145706143" r:id="rId14"/>
    <p:sldId id="2145706144" r:id="rId15"/>
    <p:sldId id="2145706154" r:id="rId16"/>
    <p:sldId id="2145706155" r:id="rId17"/>
    <p:sldId id="2145706151" r:id="rId18"/>
    <p:sldId id="2145706163" r:id="rId19"/>
    <p:sldId id="2145706157" r:id="rId20"/>
    <p:sldId id="2145706162" r:id="rId21"/>
    <p:sldId id="2145706161" r:id="rId22"/>
    <p:sldId id="2145706159" r:id="rId23"/>
    <p:sldId id="2145706160" r:id="rId24"/>
    <p:sldId id="2145706152" r:id="rId25"/>
    <p:sldId id="2145706156" r:id="rId26"/>
    <p:sldId id="2145706153" r:id="rId27"/>
    <p:sldId id="2145706158" r:id="rId28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126" userDrawn="1">
          <p15:clr>
            <a:srgbClr val="A4A3A4"/>
          </p15:clr>
        </p15:guide>
        <p15:guide id="4" pos="6091" userDrawn="1">
          <p15:clr>
            <a:srgbClr val="A4A3A4"/>
          </p15:clr>
        </p15:guide>
        <p15:guide id="5" orient="horz" pos="754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orient="horz" pos="595" userDrawn="1">
          <p15:clr>
            <a:srgbClr val="A4A3A4"/>
          </p15:clr>
        </p15:guide>
        <p15:guide id="8" orient="horz" pos="1185" userDrawn="1">
          <p15:clr>
            <a:srgbClr val="A4A3A4"/>
          </p15:clr>
        </p15:guide>
        <p15:guide id="9" pos="475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EADA0"/>
    <a:srgbClr val="0000CC"/>
    <a:srgbClr val="FFCCCC"/>
    <a:srgbClr val="333333"/>
    <a:srgbClr val="CEDEFE"/>
    <a:srgbClr val="595959"/>
    <a:srgbClr val="CCFFFF"/>
    <a:srgbClr val="FFFFFF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01" autoAdjust="0"/>
    <p:restoredTop sz="94773" autoAdjust="0"/>
  </p:normalViewPr>
  <p:slideViewPr>
    <p:cSldViewPr snapToGrid="0">
      <p:cViewPr varScale="1">
        <p:scale>
          <a:sx n="111" d="100"/>
          <a:sy n="111" d="100"/>
        </p:scale>
        <p:origin x="1722" y="114"/>
      </p:cViewPr>
      <p:guideLst>
        <p:guide orient="horz" pos="2160"/>
        <p:guide pos="3120"/>
        <p:guide pos="126"/>
        <p:guide pos="6091"/>
        <p:guide orient="horz" pos="754"/>
        <p:guide orient="horz" pos="4065"/>
        <p:guide orient="horz" pos="595"/>
        <p:guide orient="horz" pos="1185"/>
        <p:guide pos="47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FB241-6C4A-4CBC-ACE4-9194AA142902}" type="datetimeFigureOut">
              <a:rPr lang="ko-KR" altLang="en-US" smtClean="0"/>
              <a:t>2023-09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BF63C-DD0D-4A17-9177-57CE39DA7E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7096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0850" y="808038"/>
            <a:ext cx="5835650" cy="40401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143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16124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526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6454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1740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9093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9433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9541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771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1717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304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7987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723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051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6089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459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965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812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138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08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E92FE3F-D02D-4005-A357-9C1D256714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5850" r="10428" b="21658"/>
          <a:stretch/>
        </p:blipFill>
        <p:spPr>
          <a:xfrm>
            <a:off x="-1" y="784610"/>
            <a:ext cx="9906001" cy="2932422"/>
          </a:xfrm>
          <a:prstGeom prst="rect">
            <a:avLst/>
          </a:prstGeom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859610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. 16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2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89654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6" name="그림 개체 틀 7">
            <a:extLst>
              <a:ext uri="{FF2B5EF4-FFF2-40B4-BE49-F238E27FC236}">
                <a16:creationId xmlns:a16="http://schemas.microsoft.com/office/drawing/2014/main" id="{A5BA86C0-7F1C-4930-A862-2D24D244E2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050" t="-16332" r="-2476" b="-5682"/>
          <a:stretch/>
        </p:blipFill>
        <p:spPr>
          <a:xfrm flipH="1">
            <a:off x="5768986" y="0"/>
            <a:ext cx="4135370" cy="606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57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4" name="그림 개체 틀 8">
            <a:extLst>
              <a:ext uri="{FF2B5EF4-FFF2-40B4-BE49-F238E27FC236}">
                <a16:creationId xmlns:a16="http://schemas.microsoft.com/office/drawing/2014/main" id="{6D57B282-6583-4026-B79C-6E68293FB1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07" r="14207"/>
          <a:stretch/>
        </p:blipFill>
        <p:spPr>
          <a:xfrm>
            <a:off x="5531644" y="358775"/>
            <a:ext cx="4349433" cy="610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11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742554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  <p:pic>
        <p:nvPicPr>
          <p:cNvPr id="37" name="그림 개체 틀 3">
            <a:extLst>
              <a:ext uri="{FF2B5EF4-FFF2-40B4-BE49-F238E27FC236}">
                <a16:creationId xmlns:a16="http://schemas.microsoft.com/office/drawing/2014/main" id="{AC40D9EF-D8AC-4428-9E02-F44BE511C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338" t="-984" r="-5338" b="-12042"/>
          <a:stretch/>
        </p:blipFill>
        <p:spPr>
          <a:xfrm>
            <a:off x="3044788" y="836712"/>
            <a:ext cx="3924436" cy="400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58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59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6590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_Circular image_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64E5EF-A113-4771-AB35-DACFFD88F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64E5EF-A113-4771-AB35-DACFFD88F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961120" y="1670836"/>
            <a:ext cx="7983761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266" b="1" baseline="0">
                <a:solidFill>
                  <a:schemeClr val="tx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ection title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D49D3CB1-BDE6-45A4-AF5B-BD4171DC98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0" y="683028"/>
            <a:ext cx="4953000" cy="5504351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내용 개체 틀 11">
            <a:extLst>
              <a:ext uri="{FF2B5EF4-FFF2-40B4-BE49-F238E27FC236}">
                <a16:creationId xmlns:a16="http://schemas.microsoft.com/office/drawing/2014/main" id="{2C5A3182-8D5E-4489-BD95-FA027C697AE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63251" y="3429000"/>
            <a:ext cx="7979497" cy="1409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41950" marR="0" indent="-161300" algn="l" defTabSz="659997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ko-KR" altLang="en-US" sz="1814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>
              <a:defRPr lang="ko-KR" altLang="en-US" smtClean="0"/>
            </a:lvl2pPr>
            <a:lvl3pPr>
              <a:defRPr lang="ko-KR" altLang="en-US" smtClean="0"/>
            </a:lvl3pPr>
            <a:lvl4pPr>
              <a:defRPr lang="ko-KR" altLang="en-US" smtClean="0"/>
            </a:lvl4pPr>
            <a:lvl5pPr>
              <a:defRPr lang="ko-KR" altLang="en-US"/>
            </a:lvl5pPr>
          </a:lstStyle>
          <a:p>
            <a:pPr lvl="0">
              <a:spcBef>
                <a:spcPct val="0"/>
              </a:spcBef>
            </a:pPr>
            <a:r>
              <a:rPr lang="en-US" altLang="ko-KR" dirty="0"/>
              <a:t>Subsection title</a:t>
            </a:r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lvl="0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10" name="바닥글 개체 틀 5">
            <a:extLst>
              <a:ext uri="{FF2B5EF4-FFF2-40B4-BE49-F238E27FC236}">
                <a16:creationId xmlns:a16="http://schemas.microsoft.com/office/drawing/2014/main" id="{FBCE97DC-EA62-4560-A60C-EF1075EDC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920" y="6477001"/>
            <a:ext cx="4336035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ko-KR" altLang="en-US" sz="653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l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altLang="ko-KR" sz="65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  <p:sp>
        <p:nvSpPr>
          <p:cNvPr id="11" name="슬라이드 번호 개체 틀 6">
            <a:extLst>
              <a:ext uri="{FF2B5EF4-FFF2-40B4-BE49-F238E27FC236}">
                <a16:creationId xmlns:a16="http://schemas.microsoft.com/office/drawing/2014/main" id="{B84E6E42-9EE2-4760-BFC7-4963A59CD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8425" y="6477001"/>
            <a:ext cx="250156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ko-KR" altLang="en-US" sz="653" kern="1200" baseline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r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F7EA6D-840D-42ED-920B-ABDAC0B63037}" type="slidenum">
              <a:rPr kumimoji="0" lang="en-US" altLang="ko-KR" sz="65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나눔바른고딕"/>
                <a:cs typeface="Calibri" panose="020F0502020204030204" pitchFamily="34" charset="0"/>
              </a:rPr>
              <a:pPr marL="0" marR="0" lvl="0" indent="0" algn="r" defTabSz="829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6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925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1">
          <p15:clr>
            <a:srgbClr val="FBAE40"/>
          </p15:clr>
        </p15:guide>
        <p15:guide id="2" orient="horz" pos="238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0764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>
            <a:extLst>
              <a:ext uri="{FF2B5EF4-FFF2-40B4-BE49-F238E27FC236}">
                <a16:creationId xmlns:a16="http://schemas.microsoft.com/office/drawing/2014/main" id="{E459E954-ED3E-4FA9-B672-7A47AF5526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21993" y="6546293"/>
            <a:ext cx="862013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70" tIns="43635" rIns="87270" bIns="43635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CC9212EA-E120-4A88-8CB2-FDCABF485045}" type="slidenum">
              <a:rPr lang="en-US" altLang="ko-KR" sz="900">
                <a:latin typeface="현대하모니 L" panose="02020603020101020101" pitchFamily="18" charset="-127"/>
                <a:ea typeface="현대하모니 L" panose="02020603020101020101" pitchFamily="18" charset="-127"/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‹#›</a:t>
            </a:fld>
            <a:endParaRPr lang="en-US" altLang="ko-KR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5376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978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036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0856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9064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80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905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6260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008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0" y="-510702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9753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009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34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49920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01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92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62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689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0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 smtClean="0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1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097" name="TextBox 1096"/>
          <p:cNvSpPr txBox="1"/>
          <p:nvPr userDrawn="1"/>
        </p:nvSpPr>
        <p:spPr>
          <a:xfrm>
            <a:off x="0" y="-1155"/>
            <a:ext cx="9906000" cy="6858000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101" name="직사각형 1100"/>
          <p:cNvSpPr/>
          <p:nvPr userDrawn="1"/>
        </p:nvSpPr>
        <p:spPr bwMode="auto">
          <a:xfrm>
            <a:off x="272480" y="584684"/>
            <a:ext cx="9144000" cy="36000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45" name="직사각형 144"/>
          <p:cNvSpPr/>
          <p:nvPr userDrawn="1"/>
        </p:nvSpPr>
        <p:spPr bwMode="auto">
          <a:xfrm>
            <a:off x="2756756" y="584684"/>
            <a:ext cx="6840000" cy="360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>
            <a:extLst>
              <a:ext uri="{FF2B5EF4-FFF2-40B4-BE49-F238E27FC236}">
                <a16:creationId xmlns:a16="http://schemas.microsoft.com/office/drawing/2014/main" id="{FCBEBB42-921D-4FE5-9753-AE28F4A5AF4D}"/>
              </a:ext>
            </a:extLst>
          </p:cNvPr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 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/ DT088476@mobis-partners.com /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,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위반 시 당사 사규 및 관련 법규에 의해 제재될 수 있습니다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. </a:t>
            </a:r>
            <a:endParaRPr lang="ko-KR" altLang="en-US" sz="600" dirty="0" err="1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737373"/>
              </a:solidFill>
              <a:latin typeface="맑은 고딕" panose="020B0503020000020004" pitchFamily="50" charset="-127"/>
              <a:ea typeface="현대하모니 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707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4" r:id="rId7"/>
    <p:sldLayoutId id="2147483733" r:id="rId8"/>
  </p:sldLayoutIdLst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3018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2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2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200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22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843999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266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688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6500" indent="-3165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584">
          <a:solidFill>
            <a:schemeClr val="tx1"/>
          </a:solidFill>
          <a:latin typeface="+mn-lt"/>
          <a:ea typeface="+mn-ea"/>
        </a:defRPr>
      </a:lvl2pPr>
      <a:lvl3pPr marL="1055000" indent="-2110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99" indent="-2110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000" indent="-2110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000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11"/>
          <p:cNvGraphicFramePr>
            <a:graphicFrameLocks noGrp="1"/>
          </p:cNvGraphicFramePr>
          <p:nvPr/>
        </p:nvGraphicFramePr>
        <p:xfrm>
          <a:off x="8675054" y="706600"/>
          <a:ext cx="1004347" cy="649287"/>
        </p:xfrm>
        <a:graphic>
          <a:graphicData uri="http://schemas.openxmlformats.org/drawingml/2006/table">
            <a:tbl>
              <a:tblPr/>
              <a:tblGrid>
                <a:gridCol w="3202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○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●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○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제목 4"/>
          <p:cNvSpPr txBox="1">
            <a:spLocks/>
          </p:cNvSpPr>
          <p:nvPr/>
        </p:nvSpPr>
        <p:spPr bwMode="gray">
          <a:xfrm>
            <a:off x="344488" y="1596828"/>
            <a:ext cx="6178712" cy="414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ts val="4006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chemeClr val="accent5">
                    <a:lumMod val="50000"/>
                  </a:schemeClr>
                </a:solidFill>
                <a:latin typeface="현대산스 Text" panose="020B0600000101010101" pitchFamily="50" charset="-127"/>
                <a:ea typeface="맑은 고딕" pitchFamily="50" charset="-127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400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[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현대모비스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]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</a:t>
            </a:r>
            <a:r>
              <a:rPr kumimoji="0" lang="ko-KR" altLang="en-US" sz="15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서비스부품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차세대 시스템 구축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(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국내부문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)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프로젝트</a:t>
            </a:r>
          </a:p>
        </p:txBody>
      </p:sp>
      <p:sp>
        <p:nvSpPr>
          <p:cNvPr id="5" name="텍스트 개체 틀 6"/>
          <p:cNvSpPr txBox="1">
            <a:spLocks/>
          </p:cNvSpPr>
          <p:nvPr/>
        </p:nvSpPr>
        <p:spPr bwMode="gray">
          <a:xfrm>
            <a:off x="344488" y="2150228"/>
            <a:ext cx="8337292" cy="4146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ts val="4006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None/>
              <a:defRPr sz="2500" b="0" baseline="0">
                <a:solidFill>
                  <a:srgbClr val="006699"/>
                </a:solidFill>
                <a:latin typeface="현대산스 Text" panose="020B0600000101010101" pitchFamily="50" charset="-127"/>
                <a:ea typeface="현대산스 Head" panose="020B0600000101010101" pitchFamily="50" charset="-127"/>
                <a:cs typeface="+mn-cs"/>
              </a:defRPr>
            </a:lvl1pPr>
            <a:lvl2pPr marL="5762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858838" indent="-1682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200150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14811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latinLnBrk="0">
              <a:buClr>
                <a:srgbClr val="000000"/>
              </a:buClr>
              <a:defRPr/>
            </a:pPr>
            <a:r>
              <a:rPr lang="en-US" altLang="ko-KR" sz="3500" b="1" kern="0" dirty="0" smtClean="0">
                <a:solidFill>
                  <a:srgbClr val="000000"/>
                </a:solidFill>
                <a:latin typeface="현대하모니 M"/>
                <a:ea typeface="현대하모니 M"/>
              </a:rPr>
              <a:t>MDT </a:t>
            </a:r>
            <a:r>
              <a:rPr lang="ko-KR" altLang="en-US" sz="3500" b="1" kern="0" dirty="0" err="1" smtClean="0">
                <a:solidFill>
                  <a:srgbClr val="000000"/>
                </a:solidFill>
                <a:latin typeface="현대하모니 M"/>
                <a:ea typeface="현대하모니 M"/>
              </a:rPr>
              <a:t>수행계획서</a:t>
            </a:r>
            <a:endParaRPr lang="ko-KR" altLang="en-US" sz="1800" kern="0" dirty="0">
              <a:solidFill>
                <a:srgbClr val="000000"/>
              </a:solidFill>
              <a:latin typeface="현대하모니 M"/>
              <a:ea typeface="현대하모니 M"/>
            </a:endParaRPr>
          </a:p>
        </p:txBody>
      </p:sp>
      <p:sp>
        <p:nvSpPr>
          <p:cNvPr id="6" name="부제목 5"/>
          <p:cNvSpPr txBox="1">
            <a:spLocks/>
          </p:cNvSpPr>
          <p:nvPr/>
        </p:nvSpPr>
        <p:spPr bwMode="gray">
          <a:xfrm>
            <a:off x="272481" y="5517232"/>
            <a:ext cx="1842505" cy="4320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None/>
              <a:defRPr sz="1100" b="0" baseline="0">
                <a:solidFill>
                  <a:srgbClr val="000000"/>
                </a:solidFill>
                <a:latin typeface="+mn-lt"/>
                <a:ea typeface="현대산스 Head" panose="020B0600000101010101" pitchFamily="50" charset="-127"/>
                <a:cs typeface="+mn-cs"/>
              </a:defRPr>
            </a:lvl1pPr>
            <a:lvl2pPr marL="45603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2pPr>
            <a:lvl3pPr marL="912066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3pPr>
            <a:lvl4pPr marL="136809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4pPr>
            <a:lvl5pPr marL="1824124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5pPr>
            <a:lvl6pPr marL="2280152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36182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19221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4824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en-US" altLang="ko-KR" kern="0" dirty="0" smtClean="0">
                <a:latin typeface="현대하모니 M" panose="02020603020101020101" pitchFamily="18" charset="-127"/>
                <a:ea typeface="현대하모니 M"/>
              </a:rPr>
              <a:t>’23.07.19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ko-KR" altLang="en-US" kern="0" dirty="0" smtClean="0">
                <a:latin typeface="현대하모니 M" panose="02020603020101020101" pitchFamily="18" charset="-127"/>
                <a:ea typeface="현대하모니 M"/>
              </a:rPr>
              <a:t>서비스차세대시스템구축</a:t>
            </a:r>
            <a:r>
              <a:rPr lang="en-US" altLang="ko-KR" kern="0" dirty="0" smtClean="0">
                <a:latin typeface="현대하모니 M" panose="02020603020101020101" pitchFamily="18" charset="-127"/>
                <a:ea typeface="현대하모니 M"/>
              </a:rPr>
              <a:t>TFT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FB18D65A-4040-4819-930D-570E739EB7A1}"/>
              </a:ext>
            </a:extLst>
          </p:cNvPr>
          <p:cNvSpPr/>
          <p:nvPr/>
        </p:nvSpPr>
        <p:spPr>
          <a:xfrm>
            <a:off x="7408618" y="3511540"/>
            <a:ext cx="2214686" cy="2134806"/>
          </a:xfrm>
          <a:prstGeom prst="rect">
            <a:avLst/>
          </a:prstGeom>
        </p:spPr>
        <p:txBody>
          <a:bodyPr wrap="square" lIns="36000" tIns="36000" rIns="36000" bIns="36000" anchor="ctr" anchorCtr="0">
            <a:spAutoFit/>
          </a:bodyPr>
          <a:lstStyle/>
          <a:p>
            <a:pPr lvl="0" algn="ctr" fontAlgn="ctr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[</a:t>
            </a:r>
            <a:r>
              <a:rPr kumimoji="1" lang="en-US" altLang="ko-KR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ko-KR" altLang="en-US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목 차 </a:t>
            </a:r>
            <a:r>
              <a:rPr kumimoji="1" lang="en-US" altLang="ko-KR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]</a:t>
            </a:r>
          </a:p>
          <a:p>
            <a:pPr lvl="0"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요</a:t>
            </a:r>
            <a:endParaRPr kumimoji="1" lang="en-US" altLang="ko-KR" sz="12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lvl="0"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II.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진일정</a:t>
            </a:r>
            <a:endParaRPr kumimoji="1" lang="en-US" altLang="ko-KR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II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수행 방안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V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 구축 절차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V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 구축 방안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VI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 화면 구성 방안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VII.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데이터 구성 방안</a:t>
            </a:r>
            <a:endParaRPr kumimoji="1" lang="en-US" altLang="ko-KR" sz="12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lvl="0"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en-US" altLang="ko-KR" sz="1000" dirty="0">
                <a:solidFill>
                  <a:srgbClr val="000000"/>
                </a:solidFill>
                <a:latin typeface="현대하모니 L" pitchFamily="18" charset="-127"/>
                <a:ea typeface="현대하모니 L" pitchFamily="18" charset="-127"/>
              </a:rPr>
              <a:t>#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첨부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*.do </a:t>
            </a:r>
            <a:r>
              <a:rPr kumimoji="1" lang="ko-KR" altLang="en-US" sz="1000" dirty="0" err="1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전달 방식</a:t>
            </a:r>
            <a:endParaRPr kumimoji="1" lang="en-US" altLang="ko-KR" sz="1000" dirty="0">
              <a:solidFill>
                <a:srgbClr val="000000"/>
              </a:solidFill>
              <a:latin typeface="현대하모니 L" pitchFamily="18" charset="-127"/>
              <a:ea typeface="현대하모니 L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3651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직사각형 27"/>
          <p:cNvSpPr/>
          <p:nvPr/>
        </p:nvSpPr>
        <p:spPr>
          <a:xfrm>
            <a:off x="6174086" y="2289120"/>
            <a:ext cx="1911350" cy="1231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-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구매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89573" y="1673170"/>
            <a:ext cx="146706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ORD :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발주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51050" y="1303838"/>
            <a:ext cx="7441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As-Is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2689573" y="3885034"/>
            <a:ext cx="146706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INC :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입고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6296856" y="1303838"/>
            <a:ext cx="825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To-Be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6397298" y="1673170"/>
            <a:ext cx="146706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ORD :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발주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6327448" y="2411834"/>
            <a:ext cx="160558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ASNM : ASN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6397298" y="3885034"/>
            <a:ext cx="146706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INC :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입고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6327448" y="3015624"/>
            <a:ext cx="160558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ASND : ASN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cxnSp>
        <p:nvCxnSpPr>
          <p:cNvPr id="30" name="꺾인 연결선 29"/>
          <p:cNvCxnSpPr>
            <a:stCxn id="227" idx="2"/>
            <a:endCxn id="28" idx="0"/>
          </p:cNvCxnSpPr>
          <p:nvPr/>
        </p:nvCxnSpPr>
        <p:spPr>
          <a:xfrm rot="5400000">
            <a:off x="7006988" y="2165276"/>
            <a:ext cx="246618" cy="107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화살표 연결선 31"/>
          <p:cNvCxnSpPr>
            <a:stCxn id="28" idx="2"/>
            <a:endCxn id="229" idx="0"/>
          </p:cNvCxnSpPr>
          <p:nvPr/>
        </p:nvCxnSpPr>
        <p:spPr>
          <a:xfrm>
            <a:off x="7129761" y="3521020"/>
            <a:ext cx="1071" cy="3640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24544" y="4530294"/>
            <a:ext cx="4533682" cy="132343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는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N 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념으로 인해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와 단순 비교는 할 수가 없는 상태이므로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동 결과를  </a:t>
            </a:r>
            <a:r>
              <a:rPr lang="ko-KR" altLang="en-US" sz="1600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매팀에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제공하여 자체 결과 확인 예정</a:t>
            </a:r>
            <a:endParaRPr lang="en-US" altLang="ko-KR" sz="16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발주 처리 단위는 달라지지만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와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전체 발주 수량은 동일해야 함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총합 위주의 검증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ko-KR" altLang="en-US" sz="16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35" name="직선 화살표 연결선 34"/>
          <p:cNvCxnSpPr>
            <a:stCxn id="26" idx="2"/>
            <a:endCxn id="225" idx="0"/>
          </p:cNvCxnSpPr>
          <p:nvPr/>
        </p:nvCxnSpPr>
        <p:spPr>
          <a:xfrm>
            <a:off x="3423107" y="2042502"/>
            <a:ext cx="0" cy="18425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오른쪽 화살표 36"/>
          <p:cNvSpPr/>
          <p:nvPr/>
        </p:nvSpPr>
        <p:spPr>
          <a:xfrm>
            <a:off x="5004276" y="4867902"/>
            <a:ext cx="590550" cy="558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TextBox 37"/>
          <p:cNvSpPr txBox="1">
            <a:spLocks noChangeAspect="1"/>
          </p:cNvSpPr>
          <p:nvPr/>
        </p:nvSpPr>
        <p:spPr>
          <a:xfrm>
            <a:off x="5740876" y="4530294"/>
            <a:ext cx="3873500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처리 후 별도 처리 없이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“</a:t>
            </a:r>
            <a:r>
              <a:rPr lang="ko-KR" altLang="en-US" sz="1600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결과 </a:t>
            </a:r>
            <a:r>
              <a:rPr lang="en-US" altLang="ko-KR" sz="1600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” 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구매 팀에 제공하면 업무에 활용</a:t>
            </a:r>
            <a:endParaRPr lang="ko-KR" altLang="en-US" sz="16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5740876" y="5268958"/>
            <a:ext cx="3873500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가로 입고 처리 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DA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도 같이 테스트를 하고 싶어 함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 (</a:t>
            </a:r>
            <a:r>
              <a:rPr lang="ko-KR" altLang="en-US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가 검토 예정</a:t>
            </a:r>
            <a:r>
              <a:rPr lang="en-US" altLang="ko-KR" sz="16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6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239654" y="800100"/>
            <a:ext cx="4618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대상 화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1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화면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PU040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입고 및 입고 취소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75387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-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해외영업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cxnSp>
        <p:nvCxnSpPr>
          <p:cNvPr id="171" name="직선 연결선 170"/>
          <p:cNvCxnSpPr/>
          <p:nvPr/>
        </p:nvCxnSpPr>
        <p:spPr>
          <a:xfrm>
            <a:off x="6442802" y="5014200"/>
            <a:ext cx="0" cy="99290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순서도: 자기 디스크 171"/>
          <p:cNvSpPr/>
          <p:nvPr/>
        </p:nvSpPr>
        <p:spPr>
          <a:xfrm>
            <a:off x="4734773" y="3916188"/>
            <a:ext cx="1138686" cy="720306"/>
          </a:xfrm>
          <a:prstGeom prst="flowChartMagneticDisk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1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73" name="순서도: 자기 디스크 172"/>
          <p:cNvSpPr/>
          <p:nvPr/>
        </p:nvSpPr>
        <p:spPr>
          <a:xfrm>
            <a:off x="4734773" y="5106623"/>
            <a:ext cx="1138686" cy="720306"/>
          </a:xfrm>
          <a:prstGeom prst="flowChartMagneticDisk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1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74" name="직사각형 173"/>
          <p:cNvSpPr/>
          <p:nvPr/>
        </p:nvSpPr>
        <p:spPr>
          <a:xfrm>
            <a:off x="6048167" y="5173506"/>
            <a:ext cx="807901" cy="57865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</a:t>
            </a:r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75" name="순서도: 자기 디스크 174"/>
          <p:cNvSpPr/>
          <p:nvPr/>
        </p:nvSpPr>
        <p:spPr>
          <a:xfrm>
            <a:off x="6999633" y="5106623"/>
            <a:ext cx="1138686" cy="720306"/>
          </a:xfrm>
          <a:prstGeom prst="flowChartMagneticDisk">
            <a:avLst/>
          </a:prstGeom>
          <a:solidFill>
            <a:srgbClr val="FFFF00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결과 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76" name="순서도: 자기 디스크 175"/>
          <p:cNvSpPr/>
          <p:nvPr/>
        </p:nvSpPr>
        <p:spPr>
          <a:xfrm>
            <a:off x="8462530" y="3916188"/>
            <a:ext cx="1138686" cy="720306"/>
          </a:xfrm>
          <a:prstGeom prst="flowChartMagneticDisk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77" name="직선 화살표 연결선 176"/>
          <p:cNvCxnSpPr>
            <a:stCxn id="173" idx="4"/>
            <a:endCxn id="174" idx="1"/>
          </p:cNvCxnSpPr>
          <p:nvPr/>
        </p:nvCxnSpPr>
        <p:spPr>
          <a:xfrm flipV="1">
            <a:off x="5873459" y="5462835"/>
            <a:ext cx="174708" cy="39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직선 화살표 연결선 177"/>
          <p:cNvCxnSpPr>
            <a:stCxn id="174" idx="3"/>
            <a:endCxn id="175" idx="2"/>
          </p:cNvCxnSpPr>
          <p:nvPr/>
        </p:nvCxnSpPr>
        <p:spPr>
          <a:xfrm>
            <a:off x="6856068" y="5462835"/>
            <a:ext cx="143565" cy="39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직사각형 178"/>
          <p:cNvSpPr/>
          <p:nvPr/>
        </p:nvSpPr>
        <p:spPr>
          <a:xfrm>
            <a:off x="7964592" y="5902477"/>
            <a:ext cx="805780" cy="59599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</a:t>
            </a:r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5879613" y="3846492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-1</a:t>
            </a:r>
          </a:p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익일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7882548" y="3850378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-0</a:t>
            </a:r>
          </a:p>
          <a:p>
            <a:r>
              <a:rPr lang="ko-KR" altLang="en-US" sz="14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당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일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83" name="직선 화살표 연결선 182"/>
          <p:cNvCxnSpPr>
            <a:stCxn id="172" idx="3"/>
            <a:endCxn id="173" idx="1"/>
          </p:cNvCxnSpPr>
          <p:nvPr/>
        </p:nvCxnSpPr>
        <p:spPr>
          <a:xfrm>
            <a:off x="5304116" y="4636494"/>
            <a:ext cx="0" cy="4701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/>
          <p:cNvSpPr txBox="1"/>
          <p:nvPr/>
        </p:nvSpPr>
        <p:spPr>
          <a:xfrm>
            <a:off x="5267899" y="4719391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7216407" y="5850868"/>
            <a:ext cx="784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생성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6" name="순서도: 자기 디스크 185"/>
          <p:cNvSpPr/>
          <p:nvPr/>
        </p:nvSpPr>
        <p:spPr>
          <a:xfrm>
            <a:off x="8462530" y="5106623"/>
            <a:ext cx="1138686" cy="720306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7" name="왼쪽/오른쪽 화살표 186"/>
          <p:cNvSpPr/>
          <p:nvPr/>
        </p:nvSpPr>
        <p:spPr>
          <a:xfrm>
            <a:off x="8190218" y="5246491"/>
            <a:ext cx="245936" cy="482914"/>
          </a:xfrm>
          <a:prstGeom prst="leftRightArrow">
            <a:avLst>
              <a:gd name="adj1" fmla="val 50000"/>
              <a:gd name="adj2" fmla="val 2559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8" name="TextBox 187"/>
          <p:cNvSpPr txBox="1"/>
          <p:nvPr/>
        </p:nvSpPr>
        <p:spPr>
          <a:xfrm>
            <a:off x="8319764" y="4706423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89" name="직선 화살표 연결선 188"/>
          <p:cNvCxnSpPr>
            <a:stCxn id="176" idx="3"/>
            <a:endCxn id="186" idx="1"/>
          </p:cNvCxnSpPr>
          <p:nvPr/>
        </p:nvCxnSpPr>
        <p:spPr>
          <a:xfrm>
            <a:off x="9031873" y="4636494"/>
            <a:ext cx="0" cy="4701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그룹 10"/>
          <p:cNvGrpSpPr/>
          <p:nvPr/>
        </p:nvGrpSpPr>
        <p:grpSpPr>
          <a:xfrm>
            <a:off x="6459595" y="1882451"/>
            <a:ext cx="1175645" cy="2674938"/>
            <a:chOff x="6120505" y="938506"/>
            <a:chExt cx="1531246" cy="3125494"/>
          </a:xfrm>
        </p:grpSpPr>
        <p:sp>
          <p:nvSpPr>
            <p:cNvPr id="190" name="순서도: 처리 189"/>
            <p:cNvSpPr/>
            <p:nvPr/>
          </p:nvSpPr>
          <p:spPr>
            <a:xfrm>
              <a:off x="6120505" y="3669628"/>
              <a:ext cx="1531245" cy="394372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생성</a:t>
              </a:r>
              <a:endPara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1" name="순서도: 처리 190"/>
            <p:cNvSpPr/>
            <p:nvPr/>
          </p:nvSpPr>
          <p:spPr>
            <a:xfrm>
              <a:off x="6120505" y="938506"/>
              <a:ext cx="1531245" cy="394372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1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컨펌</a:t>
              </a:r>
              <a:endPara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2" name="순서도: 처리 191"/>
            <p:cNvSpPr/>
            <p:nvPr/>
          </p:nvSpPr>
          <p:spPr>
            <a:xfrm>
              <a:off x="6120505" y="1463558"/>
              <a:ext cx="1531245" cy="394372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endPara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3" name="순서도: 처리 192"/>
            <p:cNvSpPr/>
            <p:nvPr/>
          </p:nvSpPr>
          <p:spPr>
            <a:xfrm>
              <a:off x="6120505" y="1985378"/>
              <a:ext cx="1531245" cy="394372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피킹지시</a:t>
              </a:r>
              <a:endPara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5" name="순서도: 자기 디스크 194"/>
            <p:cNvSpPr/>
            <p:nvPr/>
          </p:nvSpPr>
          <p:spPr>
            <a:xfrm>
              <a:off x="6120506" y="2945672"/>
              <a:ext cx="1531245" cy="598461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6" name="순서도: 처리 195"/>
            <p:cNvSpPr/>
            <p:nvPr/>
          </p:nvSpPr>
          <p:spPr>
            <a:xfrm>
              <a:off x="6459662" y="3198047"/>
              <a:ext cx="913299" cy="297413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F </a:t>
              </a:r>
              <a:r>
                <a:rPr lang="ko-KR" altLang="en-US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법인</a:t>
              </a:r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97" name="직선 화살표 연결선 196"/>
            <p:cNvCxnSpPr>
              <a:stCxn id="195" idx="3"/>
            </p:cNvCxnSpPr>
            <p:nvPr/>
          </p:nvCxnSpPr>
          <p:spPr>
            <a:xfrm>
              <a:off x="6886129" y="3544133"/>
              <a:ext cx="74793" cy="17691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순서도: 처리 197"/>
            <p:cNvSpPr/>
            <p:nvPr/>
          </p:nvSpPr>
          <p:spPr>
            <a:xfrm>
              <a:off x="6120505" y="2497451"/>
              <a:ext cx="1531245" cy="394372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UB_INVOCE</a:t>
              </a:r>
              <a:endPara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sp>
        <p:nvSpPr>
          <p:cNvPr id="199" name="순서도: 자기 디스크 198"/>
          <p:cNvSpPr/>
          <p:nvPr/>
        </p:nvSpPr>
        <p:spPr>
          <a:xfrm>
            <a:off x="3667183" y="2223460"/>
            <a:ext cx="2135180" cy="1085099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0" name="순서도: 처리 199"/>
          <p:cNvSpPr/>
          <p:nvPr/>
        </p:nvSpPr>
        <p:spPr>
          <a:xfrm>
            <a:off x="3748250" y="265239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EIM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1" name="순서도: 처리 200"/>
          <p:cNvSpPr/>
          <p:nvPr/>
        </p:nvSpPr>
        <p:spPr>
          <a:xfrm>
            <a:off x="4250332" y="265239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EPM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2" name="순서도: 처리 201"/>
          <p:cNvSpPr/>
          <p:nvPr/>
        </p:nvSpPr>
        <p:spPr>
          <a:xfrm>
            <a:off x="3748250" y="2359383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ORH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3" name="순서도: 처리 202"/>
          <p:cNvSpPr/>
          <p:nvPr/>
        </p:nvSpPr>
        <p:spPr>
          <a:xfrm>
            <a:off x="4250332" y="2359383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ORP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4" name="순서도: 처리 203"/>
          <p:cNvSpPr/>
          <p:nvPr/>
        </p:nvSpPr>
        <p:spPr>
          <a:xfrm>
            <a:off x="3748250" y="295490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PIC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5" name="순서도: 처리 204"/>
          <p:cNvSpPr/>
          <p:nvPr/>
        </p:nvSpPr>
        <p:spPr>
          <a:xfrm>
            <a:off x="4752414" y="265239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ALS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6" name="순서도: 처리 205"/>
          <p:cNvSpPr/>
          <p:nvPr/>
        </p:nvSpPr>
        <p:spPr>
          <a:xfrm>
            <a:off x="4752414" y="2359383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ALD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7" name="순서도: 처리 206"/>
          <p:cNvSpPr/>
          <p:nvPr/>
        </p:nvSpPr>
        <p:spPr>
          <a:xfrm>
            <a:off x="5253781" y="265239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CAS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8" name="순서도: 처리 207"/>
          <p:cNvSpPr/>
          <p:nvPr/>
        </p:nvSpPr>
        <p:spPr>
          <a:xfrm>
            <a:off x="5253781" y="2359383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PAC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9" name="순서도: 처리 208"/>
          <p:cNvSpPr/>
          <p:nvPr/>
        </p:nvSpPr>
        <p:spPr>
          <a:xfrm>
            <a:off x="4250332" y="2954907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CON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1" name="순서도: 처리 220"/>
          <p:cNvSpPr/>
          <p:nvPr/>
        </p:nvSpPr>
        <p:spPr>
          <a:xfrm>
            <a:off x="4752414" y="2958836"/>
            <a:ext cx="460561" cy="23000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ko-KR" sz="7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NIH</a:t>
            </a:r>
            <a:endParaRPr lang="ko-KR" altLang="en-US" sz="700" b="1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" name="자유형 19"/>
          <p:cNvSpPr/>
          <p:nvPr/>
        </p:nvSpPr>
        <p:spPr>
          <a:xfrm>
            <a:off x="6057900" y="4578350"/>
            <a:ext cx="1562100" cy="596900"/>
          </a:xfrm>
          <a:custGeom>
            <a:avLst/>
            <a:gdLst>
              <a:gd name="connsiteX0" fmla="*/ 0 w 1562100"/>
              <a:gd name="connsiteY0" fmla="*/ 596900 h 596900"/>
              <a:gd name="connsiteX1" fmla="*/ 381000 w 1562100"/>
              <a:gd name="connsiteY1" fmla="*/ 0 h 596900"/>
              <a:gd name="connsiteX2" fmla="*/ 1562100 w 1562100"/>
              <a:gd name="connsiteY2" fmla="*/ 0 h 596900"/>
              <a:gd name="connsiteX3" fmla="*/ 831850 w 1562100"/>
              <a:gd name="connsiteY3" fmla="*/ 584200 h 596900"/>
              <a:gd name="connsiteX4" fmla="*/ 0 w 1562100"/>
              <a:gd name="connsiteY4" fmla="*/ 5969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2100" h="596900">
                <a:moveTo>
                  <a:pt x="0" y="596900"/>
                </a:moveTo>
                <a:lnTo>
                  <a:pt x="381000" y="0"/>
                </a:lnTo>
                <a:lnTo>
                  <a:pt x="1562100" y="0"/>
                </a:lnTo>
                <a:lnTo>
                  <a:pt x="831850" y="584200"/>
                </a:lnTo>
                <a:lnTo>
                  <a:pt x="0" y="5969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아래쪽 화살표 21"/>
          <p:cNvSpPr/>
          <p:nvPr/>
        </p:nvSpPr>
        <p:spPr>
          <a:xfrm>
            <a:off x="7727950" y="1955829"/>
            <a:ext cx="154598" cy="24764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자유형 23"/>
          <p:cNvSpPr/>
          <p:nvPr/>
        </p:nvSpPr>
        <p:spPr>
          <a:xfrm>
            <a:off x="3708400" y="3175000"/>
            <a:ext cx="2171700" cy="850900"/>
          </a:xfrm>
          <a:custGeom>
            <a:avLst/>
            <a:gdLst>
              <a:gd name="connsiteX0" fmla="*/ 0 w 2171700"/>
              <a:gd name="connsiteY0" fmla="*/ 63500 h 850900"/>
              <a:gd name="connsiteX1" fmla="*/ 654050 w 2171700"/>
              <a:gd name="connsiteY1" fmla="*/ 171450 h 850900"/>
              <a:gd name="connsiteX2" fmla="*/ 1447800 w 2171700"/>
              <a:gd name="connsiteY2" fmla="*/ 158750 h 850900"/>
              <a:gd name="connsiteX3" fmla="*/ 2000250 w 2171700"/>
              <a:gd name="connsiteY3" fmla="*/ 57150 h 850900"/>
              <a:gd name="connsiteX4" fmla="*/ 2108200 w 2171700"/>
              <a:gd name="connsiteY4" fmla="*/ 0 h 850900"/>
              <a:gd name="connsiteX5" fmla="*/ 2171700 w 2171700"/>
              <a:gd name="connsiteY5" fmla="*/ 819150 h 850900"/>
              <a:gd name="connsiteX6" fmla="*/ 1866900 w 2171700"/>
              <a:gd name="connsiteY6" fmla="*/ 717550 h 850900"/>
              <a:gd name="connsiteX7" fmla="*/ 1473200 w 2171700"/>
              <a:gd name="connsiteY7" fmla="*/ 711200 h 850900"/>
              <a:gd name="connsiteX8" fmla="*/ 1168400 w 2171700"/>
              <a:gd name="connsiteY8" fmla="*/ 781050 h 850900"/>
              <a:gd name="connsiteX9" fmla="*/ 996950 w 2171700"/>
              <a:gd name="connsiteY9" fmla="*/ 850900 h 850900"/>
              <a:gd name="connsiteX10" fmla="*/ 0 w 2171700"/>
              <a:gd name="connsiteY10" fmla="*/ 63500 h 85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71700" h="850900">
                <a:moveTo>
                  <a:pt x="0" y="63500"/>
                </a:moveTo>
                <a:lnTo>
                  <a:pt x="654050" y="171450"/>
                </a:lnTo>
                <a:lnTo>
                  <a:pt x="1447800" y="158750"/>
                </a:lnTo>
                <a:lnTo>
                  <a:pt x="2000250" y="57150"/>
                </a:lnTo>
                <a:lnTo>
                  <a:pt x="2108200" y="0"/>
                </a:lnTo>
                <a:lnTo>
                  <a:pt x="2171700" y="819150"/>
                </a:lnTo>
                <a:lnTo>
                  <a:pt x="1866900" y="717550"/>
                </a:lnTo>
                <a:lnTo>
                  <a:pt x="1473200" y="711200"/>
                </a:lnTo>
                <a:lnTo>
                  <a:pt x="1168400" y="781050"/>
                </a:lnTo>
                <a:lnTo>
                  <a:pt x="996950" y="850900"/>
                </a:lnTo>
                <a:lnTo>
                  <a:pt x="0" y="6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4" name="직사각형 223"/>
          <p:cNvSpPr/>
          <p:nvPr/>
        </p:nvSpPr>
        <p:spPr>
          <a:xfrm>
            <a:off x="4592700" y="4984926"/>
            <a:ext cx="5109462" cy="16110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TextBox 46"/>
          <p:cNvSpPr txBox="1"/>
          <p:nvPr/>
        </p:nvSpPr>
        <p:spPr>
          <a:xfrm>
            <a:off x="218732" y="1255649"/>
            <a:ext cx="3355740" cy="313932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야간 배치 돌아가기 전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-1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스냅샷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뜨고 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야간 배치 돌아간 이후 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-0 DB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스냅샷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떠서 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 점검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문제는 오더 생성된 이후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6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 경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물류에서 뭔가 아침에 작업하는게 있는데 그에 따라 데이터가 변질될 수 있어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-0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뜨는 시점을 잘 확인할 필요가 있음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17202" y="4923325"/>
            <a:ext cx="335727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“D-0 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 </a:t>
            </a:r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”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와 </a:t>
            </a:r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“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결과 </a:t>
            </a:r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”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en-US" altLang="ko-KR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Gap </a:t>
            </a:r>
            <a:r>
              <a:rPr lang="ko-KR" altLang="en-US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를 제공</a:t>
            </a:r>
            <a:endParaRPr lang="en-US" altLang="ko-KR" dirty="0" smtClean="0">
              <a:solidFill>
                <a:srgbClr val="0000CC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→ 결과를 제공하면 어느 배치에서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ap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 발생했는지 확인 가능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" name="아래쪽 화살표 1"/>
          <p:cNvSpPr/>
          <p:nvPr/>
        </p:nvSpPr>
        <p:spPr>
          <a:xfrm>
            <a:off x="1377950" y="4483100"/>
            <a:ext cx="1054100" cy="3772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TextBox 49"/>
          <p:cNvSpPr txBox="1"/>
          <p:nvPr/>
        </p:nvSpPr>
        <p:spPr>
          <a:xfrm>
            <a:off x="192620" y="800100"/>
            <a:ext cx="78337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대상 배치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16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배치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오더 </a:t>
            </a: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컨펌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할당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</a:t>
            </a: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피킹지시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SUB INVOICE,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오더 생성 관련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4147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-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재고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92620" y="800100"/>
            <a:ext cx="57399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대상 화면 및 배치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1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화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IT001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→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ITO0330S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서비스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 </a:t>
            </a: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r>
              <a:rPr lang="en-US" altLang="ko-KR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                         2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배치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IPB0940U, IPB0530U)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4905" y="1617434"/>
            <a:ext cx="8884369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이관요청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입력 내수 화면에서는 이관 할당 시 재고 변동 및 할당 순서 점검 </a:t>
            </a:r>
            <a:endParaRPr lang="en-US" altLang="ko-KR" dirty="0" smtClean="0">
              <a:solidFill>
                <a:srgbClr val="0000CC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2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배치에서는 각각</a:t>
            </a:r>
            <a:endParaRPr lang="en-US" altLang="ko-KR" dirty="0" smtClean="0">
              <a:solidFill>
                <a:srgbClr val="0000CC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PMI 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전 품목에 대한 </a:t>
            </a: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발주계수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설정값의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정합성 점검</a:t>
            </a:r>
            <a:endParaRPr lang="en-US" altLang="ko-KR" dirty="0" smtClean="0">
              <a:solidFill>
                <a:srgbClr val="0000CC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CAO 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전 품목에 대한 </a:t>
            </a: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발주계수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설정값의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정합성 점검 </a:t>
            </a:r>
            <a:endParaRPr lang="en-US" altLang="ko-KR" dirty="0">
              <a:solidFill>
                <a:srgbClr val="0000CC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lvl="1"/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을 목표로 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한다</a:t>
            </a: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4905" y="3307838"/>
            <a:ext cx="8884369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재고는 배치는 해외영업</a:t>
            </a: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, 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화면은 </a:t>
            </a:r>
            <a:r>
              <a:rPr lang="ko-KR" altLang="en-US" dirty="0" err="1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국내영업의</a:t>
            </a:r>
            <a:r>
              <a:rPr lang="ko-KR" altLang="en-US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방식을 참조하여 진행한다</a:t>
            </a:r>
            <a:r>
              <a:rPr lang="en-US" altLang="ko-KR" dirty="0" smtClean="0">
                <a:solidFill>
                  <a:srgbClr val="0000CC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5879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I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화면 구성 방안 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0133607"/>
              </p:ext>
            </p:extLst>
          </p:nvPr>
        </p:nvGraphicFramePr>
        <p:xfrm>
          <a:off x="301585" y="1197400"/>
          <a:ext cx="6263117" cy="511713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96434">
                  <a:extLst>
                    <a:ext uri="{9D8B030D-6E8A-4147-A177-3AD203B41FA5}">
                      <a16:colId xmlns:a16="http://schemas.microsoft.com/office/drawing/2014/main" val="2892394947"/>
                    </a:ext>
                  </a:extLst>
                </a:gridCol>
                <a:gridCol w="607051">
                  <a:extLst>
                    <a:ext uri="{9D8B030D-6E8A-4147-A177-3AD203B41FA5}">
                      <a16:colId xmlns:a16="http://schemas.microsoft.com/office/drawing/2014/main" val="3834186376"/>
                    </a:ext>
                  </a:extLst>
                </a:gridCol>
                <a:gridCol w="809398">
                  <a:extLst>
                    <a:ext uri="{9D8B030D-6E8A-4147-A177-3AD203B41FA5}">
                      <a16:colId xmlns:a16="http://schemas.microsoft.com/office/drawing/2014/main" val="177915209"/>
                    </a:ext>
                  </a:extLst>
                </a:gridCol>
                <a:gridCol w="809398">
                  <a:extLst>
                    <a:ext uri="{9D8B030D-6E8A-4147-A177-3AD203B41FA5}">
                      <a16:colId xmlns:a16="http://schemas.microsoft.com/office/drawing/2014/main" val="1009710370"/>
                    </a:ext>
                  </a:extLst>
                </a:gridCol>
                <a:gridCol w="2418179">
                  <a:extLst>
                    <a:ext uri="{9D8B030D-6E8A-4147-A177-3AD203B41FA5}">
                      <a16:colId xmlns:a16="http://schemas.microsoft.com/office/drawing/2014/main" val="920400945"/>
                    </a:ext>
                  </a:extLst>
                </a:gridCol>
                <a:gridCol w="667252">
                  <a:extLst>
                    <a:ext uri="{9D8B030D-6E8A-4147-A177-3AD203B41FA5}">
                      <a16:colId xmlns:a16="http://schemas.microsoft.com/office/drawing/2014/main" val="2343126570"/>
                    </a:ext>
                  </a:extLst>
                </a:gridCol>
                <a:gridCol w="655405">
                  <a:extLst>
                    <a:ext uri="{9D8B030D-6E8A-4147-A177-3AD203B41FA5}">
                      <a16:colId xmlns:a16="http://schemas.microsoft.com/office/drawing/2014/main" val="3732186232"/>
                    </a:ext>
                  </a:extLst>
                </a:gridCol>
              </a:tblGrid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순번</a:t>
                      </a: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그룹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스템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D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명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실행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검증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933804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226894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09247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69994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853951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6833050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725820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861407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193181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806665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PLU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67064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6561355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188579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0226495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777425"/>
                  </a:ext>
                </a:extLst>
              </a:tr>
              <a:tr h="319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OO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OO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303569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32574" y="889611"/>
            <a:ext cx="10844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5296619" y="1578629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5296619" y="1899038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5296619" y="2219447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5296619" y="2539856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5296619" y="2860265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5296619" y="3180674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1" name="모서리가 둥근 직사각형 60"/>
          <p:cNvSpPr/>
          <p:nvPr/>
        </p:nvSpPr>
        <p:spPr>
          <a:xfrm>
            <a:off x="5296619" y="3501083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3" name="모서리가 둥근 직사각형 62"/>
          <p:cNvSpPr/>
          <p:nvPr/>
        </p:nvSpPr>
        <p:spPr>
          <a:xfrm>
            <a:off x="5296619" y="3821492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4" name="모서리가 둥근 직사각형 63"/>
          <p:cNvSpPr/>
          <p:nvPr/>
        </p:nvSpPr>
        <p:spPr>
          <a:xfrm>
            <a:off x="5296619" y="4141901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5" name="모서리가 둥근 직사각형 64"/>
          <p:cNvSpPr/>
          <p:nvPr/>
        </p:nvSpPr>
        <p:spPr>
          <a:xfrm>
            <a:off x="5296619" y="4462310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5296619" y="4782719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5296619" y="5103128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>
            <a:off x="5296619" y="5423537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9" name="모서리가 둥근 직사각형 68"/>
          <p:cNvSpPr/>
          <p:nvPr/>
        </p:nvSpPr>
        <p:spPr>
          <a:xfrm>
            <a:off x="5296619" y="5743946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0" name="모서리가 둥근 직사각형 69"/>
          <p:cNvSpPr/>
          <p:nvPr/>
        </p:nvSpPr>
        <p:spPr>
          <a:xfrm>
            <a:off x="5296619" y="6064360"/>
            <a:ext cx="560717" cy="1897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1" name="모서리가 둥근 직사각형 70"/>
          <p:cNvSpPr/>
          <p:nvPr/>
        </p:nvSpPr>
        <p:spPr>
          <a:xfrm>
            <a:off x="5952225" y="1578629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2" name="모서리가 둥근 직사각형 71"/>
          <p:cNvSpPr/>
          <p:nvPr/>
        </p:nvSpPr>
        <p:spPr>
          <a:xfrm>
            <a:off x="5952225" y="1898422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73" name="모서리가 둥근 직사각형 72"/>
          <p:cNvSpPr/>
          <p:nvPr/>
        </p:nvSpPr>
        <p:spPr>
          <a:xfrm>
            <a:off x="5952225" y="2218215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5952225" y="2538008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80" name="모서리가 둥근 직사각형 79"/>
          <p:cNvSpPr/>
          <p:nvPr/>
        </p:nvSpPr>
        <p:spPr>
          <a:xfrm>
            <a:off x="5952225" y="2857801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82" name="모서리가 둥근 직사각형 81"/>
          <p:cNvSpPr/>
          <p:nvPr/>
        </p:nvSpPr>
        <p:spPr>
          <a:xfrm>
            <a:off x="5952225" y="3177594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5952225" y="3497387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91" name="모서리가 둥근 직사각형 90"/>
          <p:cNvSpPr/>
          <p:nvPr/>
        </p:nvSpPr>
        <p:spPr>
          <a:xfrm>
            <a:off x="5952225" y="3817180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3" name="모서리가 둥근 직사각형 92"/>
          <p:cNvSpPr/>
          <p:nvPr/>
        </p:nvSpPr>
        <p:spPr>
          <a:xfrm>
            <a:off x="5952225" y="4136973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94" name="모서리가 둥근 직사각형 93"/>
          <p:cNvSpPr/>
          <p:nvPr/>
        </p:nvSpPr>
        <p:spPr>
          <a:xfrm>
            <a:off x="5952225" y="4456766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97" name="모서리가 둥근 직사각형 96"/>
          <p:cNvSpPr/>
          <p:nvPr/>
        </p:nvSpPr>
        <p:spPr>
          <a:xfrm>
            <a:off x="5952225" y="4776559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98" name="모서리가 둥근 직사각형 97"/>
          <p:cNvSpPr/>
          <p:nvPr/>
        </p:nvSpPr>
        <p:spPr>
          <a:xfrm>
            <a:off x="5952225" y="5096352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9" name="모서리가 둥근 직사각형 98"/>
          <p:cNvSpPr/>
          <p:nvPr/>
        </p:nvSpPr>
        <p:spPr>
          <a:xfrm>
            <a:off x="5952225" y="5416145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100" name="모서리가 둥근 직사각형 99"/>
          <p:cNvSpPr/>
          <p:nvPr/>
        </p:nvSpPr>
        <p:spPr>
          <a:xfrm>
            <a:off x="5952225" y="5735938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101" name="모서리가 둥근 직사각형 100"/>
          <p:cNvSpPr/>
          <p:nvPr/>
        </p:nvSpPr>
        <p:spPr>
          <a:xfrm>
            <a:off x="5952225" y="6055734"/>
            <a:ext cx="560717" cy="1897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7029922" y="1423361"/>
            <a:ext cx="2657542" cy="147415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OOO</a:t>
            </a:r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– </a:t>
            </a:r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전체 </a:t>
            </a:r>
            <a:r>
              <a:rPr lang="en-US" altLang="ko-KR" sz="14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nt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000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건</a:t>
            </a:r>
            <a:endParaRPr lang="en-US" altLang="ko-KR" sz="14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현재 </a:t>
            </a:r>
            <a:r>
              <a:rPr lang="en-US" altLang="ko-KR" sz="14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nt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: 000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건</a:t>
            </a:r>
            <a:endParaRPr lang="en-US" altLang="ko-KR" sz="14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진행률 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00.0%</a:t>
            </a:r>
            <a:endParaRPr lang="ko-KR" altLang="en-US" sz="14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00588" y="1423361"/>
            <a:ext cx="277640" cy="261610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z="11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6913982" y="1115584"/>
            <a:ext cx="1649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 팝업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Sample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7029922" y="3334584"/>
            <a:ext cx="2657542" cy="297995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OOO</a:t>
            </a:r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1:1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비교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A table : 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B table : 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 table : X</a:t>
            </a:r>
          </a:p>
          <a:p>
            <a:endParaRPr lang="en-US" altLang="ko-KR" sz="14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마스터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논리적 검증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 table : 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E table : X</a:t>
            </a:r>
          </a:p>
          <a:p>
            <a:endParaRPr lang="en-US" altLang="ko-KR" sz="14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※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재고 마스터 등</a:t>
            </a:r>
            <a:endParaRPr lang="en-US" altLang="ko-KR" sz="12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9409824" y="3334583"/>
            <a:ext cx="277640" cy="261610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z="11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913982" y="3026808"/>
            <a:ext cx="1649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 팝업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Sample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6694098" y="1826882"/>
            <a:ext cx="219884" cy="51375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6" name="오른쪽 화살표 105"/>
          <p:cNvSpPr/>
          <p:nvPr/>
        </p:nvSpPr>
        <p:spPr>
          <a:xfrm>
            <a:off x="6694098" y="4395632"/>
            <a:ext cx="219884" cy="51375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 rot="1285492">
            <a:off x="2007220" y="2727789"/>
            <a:ext cx="2029521" cy="1180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</a:rPr>
              <a:t>샘플</a:t>
            </a:r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793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II.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트랜잭션 데이터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(</a:t>
            </a:r>
            <a:r>
              <a:rPr lang="ko-KR" altLang="en-US" sz="2500" dirty="0" err="1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파라미터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)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구성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(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예시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)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 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287" y="1132276"/>
            <a:ext cx="8075163" cy="189714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직사각형 3"/>
          <p:cNvSpPr/>
          <p:nvPr/>
        </p:nvSpPr>
        <p:spPr>
          <a:xfrm>
            <a:off x="232575" y="2571495"/>
            <a:ext cx="7918782" cy="43118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TextBox 46"/>
          <p:cNvSpPr txBox="1"/>
          <p:nvPr/>
        </p:nvSpPr>
        <p:spPr>
          <a:xfrm>
            <a:off x="224287" y="3048846"/>
            <a:ext cx="59474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해당 빨간 박스에서 입력된 데이터를 </a:t>
            </a:r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부터 재구성하여 트랜잭션 데이터 </a:t>
            </a:r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*.do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ko-KR" altLang="en-US" sz="1100" b="1" u="sng" dirty="0" err="1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</a:t>
            </a:r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준비</a:t>
            </a:r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ko-KR" altLang="en-US" sz="1100" b="1" u="sng" dirty="0">
              <a:solidFill>
                <a:srgbClr val="0000FF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61926" y="754185"/>
            <a:ext cx="18437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F003 S/S</a:t>
            </a:r>
            <a:r>
              <a:rPr lang="ko-KR" altLang="en-US" sz="1400" b="1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판매 </a:t>
            </a:r>
            <a:r>
              <a:rPr lang="en-US" altLang="ko-KR" sz="1400" b="1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400" b="1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화면</a:t>
            </a:r>
            <a:r>
              <a:rPr lang="en-US" altLang="ko-KR" sz="1400" b="1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4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2574" y="3768262"/>
            <a:ext cx="5101087" cy="20697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3" name="TextBox 52"/>
          <p:cNvSpPr txBox="1"/>
          <p:nvPr/>
        </p:nvSpPr>
        <p:spPr>
          <a:xfrm>
            <a:off x="140117" y="3423595"/>
            <a:ext cx="24913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관련 콜 프로그램 및 관련 테이블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536166" y="3758270"/>
            <a:ext cx="1026543" cy="252759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TextBox 53"/>
          <p:cNvSpPr txBox="1"/>
          <p:nvPr/>
        </p:nvSpPr>
        <p:spPr>
          <a:xfrm>
            <a:off x="5414269" y="3740944"/>
            <a:ext cx="15680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</a:t>
            </a:r>
            <a:r>
              <a:rPr lang="en-US" altLang="ko-KR" sz="10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FUAFURSF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414269" y="4266505"/>
            <a:ext cx="15744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</a:t>
            </a:r>
            <a:r>
              <a:rPr lang="en-US" altLang="ko-KR" sz="10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FUAFURSS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72187" y="5878057"/>
            <a:ext cx="21435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PFUAFURSF </a:t>
            </a:r>
            <a:r>
              <a:rPr lang="en-US" altLang="ko-KR" sz="7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SHOP 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ALE </a:t>
            </a:r>
            <a:r>
              <a:rPr lang="ko-KR" altLang="en-US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증표 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RSF)</a:t>
            </a:r>
            <a:endParaRPr lang="ko-KR" altLang="en-US" sz="7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472187" y="6070418"/>
            <a:ext cx="22012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PFUAFURSS   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HOP SALE ITEM (RSS)</a:t>
            </a:r>
            <a:endParaRPr lang="ko-KR" altLang="en-US" sz="7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0051" y="3947493"/>
            <a:ext cx="4297162" cy="169983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0051" y="4455897"/>
            <a:ext cx="4297162" cy="623123"/>
          </a:xfrm>
          <a:prstGeom prst="rect">
            <a:avLst/>
          </a:prstGeom>
        </p:spPr>
      </p:pic>
      <p:sp>
        <p:nvSpPr>
          <p:cNvPr id="75" name="TextBox 74"/>
          <p:cNvSpPr txBox="1"/>
          <p:nvPr/>
        </p:nvSpPr>
        <p:spPr>
          <a:xfrm>
            <a:off x="5414269" y="5137968"/>
            <a:ext cx="15488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PFUAPUEIV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414269" y="5384189"/>
            <a:ext cx="15744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PFUAFURTS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414269" y="5630410"/>
            <a:ext cx="16610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ARTFLE/PFUAWUTNQ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5414269" y="5886320"/>
            <a:ext cx="169309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WPARTFLE/PFWAAMHPD</a:t>
            </a:r>
            <a:endParaRPr lang="ko-KR" altLang="en-US" sz="1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5405383" y="3737373"/>
            <a:ext cx="4371830" cy="25084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위쪽 화살표 18"/>
          <p:cNvSpPr/>
          <p:nvPr/>
        </p:nvSpPr>
        <p:spPr>
          <a:xfrm>
            <a:off x="6414642" y="3061627"/>
            <a:ext cx="1096897" cy="345057"/>
          </a:xfrm>
          <a:prstGeom prst="up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TextBox 82"/>
          <p:cNvSpPr txBox="1"/>
          <p:nvPr/>
        </p:nvSpPr>
        <p:spPr>
          <a:xfrm>
            <a:off x="6173888" y="3440929"/>
            <a:ext cx="30893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C(Insert 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테이블</a:t>
            </a:r>
            <a:r>
              <a:rPr lang="en-US" altLang="ko-KR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 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내용을 기반으로 </a:t>
            </a:r>
            <a:r>
              <a:rPr lang="ko-KR" altLang="en-US" sz="1100" b="1" u="sng" dirty="0" err="1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</a:t>
            </a:r>
            <a:r>
              <a:rPr lang="ko-KR" altLang="en-US" sz="1100" b="1" u="sng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구성</a:t>
            </a:r>
            <a:endParaRPr lang="ko-KR" altLang="en-US" sz="1100" b="1" u="sng" dirty="0">
              <a:solidFill>
                <a:srgbClr val="0000FF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" name="사각형 설명선 19"/>
          <p:cNvSpPr/>
          <p:nvPr/>
        </p:nvSpPr>
        <p:spPr>
          <a:xfrm>
            <a:off x="8384875" y="1115767"/>
            <a:ext cx="1342084" cy="1323638"/>
          </a:xfrm>
          <a:prstGeom prst="wedgeRectCallout">
            <a:avLst>
              <a:gd name="adj1" fmla="val -92203"/>
              <a:gd name="adj2" fmla="val -22281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2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“</a:t>
            </a:r>
            <a:r>
              <a:rPr lang="ko-KR" altLang="en-US" sz="12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저장</a:t>
            </a:r>
            <a:r>
              <a:rPr lang="en-US" altLang="ko-KR" sz="12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”</a:t>
            </a:r>
            <a:r>
              <a:rPr lang="ko-KR" altLang="en-US" sz="12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버튼 클릭 시 해당 그리드의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입력값을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b="1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*.</a:t>
            </a:r>
            <a:r>
              <a:rPr lang="en-US" altLang="ko-KR" sz="1200" b="1" dirty="0" smtClean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o</a:t>
            </a:r>
            <a:r>
              <a:rPr lang="ko-KR" altLang="en-US" sz="1200" b="1" dirty="0" smtClean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ko-KR" altLang="en-US" sz="1200" b="1" dirty="0" err="1" smtClean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SMART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서버단으로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전송 </a:t>
            </a:r>
            <a:endParaRPr lang="ko-KR" altLang="en-US" sz="12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7332453" y="1404662"/>
            <a:ext cx="393334" cy="1627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TextBox 84"/>
          <p:cNvSpPr txBox="1"/>
          <p:nvPr/>
        </p:nvSpPr>
        <p:spPr>
          <a:xfrm>
            <a:off x="140117" y="5885476"/>
            <a:ext cx="16001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본 화면 관련 테이블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2862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참조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. *.do </a:t>
            </a:r>
            <a:r>
              <a:rPr lang="ko-KR" altLang="en-US" sz="2500" dirty="0" err="1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파라미터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값 전달 방식</a:t>
            </a:r>
            <a:endParaRPr kumimoji="0" lang="ko-KR" altLang="en-US" sz="1500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324536" y="927304"/>
            <a:ext cx="3832105" cy="5801588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lt;Root 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xmlns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=\"http://www.nexacro.com/platform/dataset\" 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ver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=\"5000\"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&lt;Parameters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&lt;Dataset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dsInpu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lumnInf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Sys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Cd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N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1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S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Lang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frnMsgLang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Typ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Nu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Siz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tPgC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tC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IdxNu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IdxSiz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4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rchYn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/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lumnInf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Rows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Row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sgLang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en_US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frnMsgLang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en_US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Typ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P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Nu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1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Siz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20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tPgC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1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tCn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0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IdxNu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0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IdxSiz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10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rchYn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N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/Row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/Rows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&lt;/Dataset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&lt;Dataset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gdsTranPara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lumnInf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nuId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nuN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crinId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kenN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string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Column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D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type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datetime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 size=\"256\"/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/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lumnInf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Rows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Row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nuId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M0000000014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nuNm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Message Management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crinId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S00011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kenNo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UM000000366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    &lt;Col id=\"</a:t>
            </a:r>
            <a:r>
              <a:rPr lang="en-US" altLang="ko-KR" sz="7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Dt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\"&gt;20220615162320000&lt;/Col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    &lt;/Row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    &lt;/Rows&gt;</a:t>
            </a:r>
          </a:p>
          <a:p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    &lt;/Dataset</a:t>
            </a:r>
            <a:r>
              <a:rPr lang="en-US" altLang="ko-KR" sz="7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gt;</a:t>
            </a:r>
          </a:p>
          <a:p>
            <a:r>
              <a:rPr lang="en-US" altLang="ko-KR" sz="7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lt;/</a:t>
            </a:r>
            <a:r>
              <a:rPr lang="en-US" altLang="ko-KR" sz="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oot&gt;</a:t>
            </a:r>
            <a:endParaRPr lang="en-US" altLang="ko-KR" sz="700" b="0" dirty="0">
              <a:effectLst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58454" y="665694"/>
            <a:ext cx="17858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err="1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Req_data</a:t>
            </a:r>
            <a:r>
              <a:rPr lang="en-US" altLang="ko-KR" sz="14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(xml </a:t>
            </a:r>
            <a:r>
              <a:rPr lang="ko-KR" altLang="en-US" sz="14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형식</a:t>
            </a:r>
            <a:r>
              <a:rPr lang="en-US" altLang="ko-KR" sz="14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400" dirty="0">
              <a:solidFill>
                <a:srgbClr val="0000FF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927305"/>
            <a:ext cx="4819649" cy="1618616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4470373" y="681083"/>
            <a:ext cx="171713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u="sng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sCommMsgController</a:t>
            </a:r>
            <a:endParaRPr lang="en-US" altLang="ko-KR" sz="1000" b="0" dirty="0">
              <a:effectLst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9" name="오른쪽 화살표 58"/>
          <p:cNvSpPr/>
          <p:nvPr/>
        </p:nvSpPr>
        <p:spPr>
          <a:xfrm>
            <a:off x="4232868" y="1479738"/>
            <a:ext cx="219884" cy="51375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479924" y="2545922"/>
            <a:ext cx="23024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50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sInput</a:t>
            </a:r>
            <a:r>
              <a:rPr lang="en-US" altLang="ko-KR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(</a:t>
            </a:r>
            <a:r>
              <a:rPr lang="ko-KR" altLang="en-US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보내는 </a:t>
            </a:r>
            <a:r>
              <a:rPr lang="ko-KR" altLang="en-US" sz="1050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</a:t>
            </a:r>
            <a:r>
              <a:rPr lang="en-US" altLang="ko-KR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Dataset)</a:t>
            </a:r>
            <a:endParaRPr lang="en-US" altLang="ko-KR" sz="1050" b="0" dirty="0">
              <a:effectLst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6" name="직선 화살표 연결선 15"/>
          <p:cNvCxnSpPr/>
          <p:nvPr/>
        </p:nvCxnSpPr>
        <p:spPr>
          <a:xfrm>
            <a:off x="5624794" y="2784249"/>
            <a:ext cx="6351" cy="142221"/>
          </a:xfrm>
          <a:prstGeom prst="straightConnector1">
            <a:avLst/>
          </a:prstGeom>
          <a:ln>
            <a:solidFill>
              <a:srgbClr val="33333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4546600" y="3244850"/>
            <a:ext cx="4819649" cy="348404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altLang="ko-KR" sz="16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</a:t>
            </a:r>
            <a:r>
              <a:rPr lang="en-US" altLang="ko-KR" sz="1600" b="1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Smart</a:t>
            </a:r>
            <a:r>
              <a:rPr lang="ko-KR" altLang="en-US" sz="16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6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Front :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넥사크로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화면에서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셋을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xml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 담아서 자바에 전달한다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Back : *.do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를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xml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 전달받아 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VO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담아 처리한다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</a:p>
          <a:p>
            <a:endParaRPr lang="en-US" altLang="ko-KR" sz="12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6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</a:t>
            </a:r>
            <a:r>
              <a:rPr lang="en-US" altLang="ko-KR" sz="1600" b="1" dirty="0" err="1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PLUS</a:t>
            </a:r>
            <a:r>
              <a:rPr lang="en-US" altLang="ko-KR" sz="16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:</a:t>
            </a:r>
          </a:p>
          <a:p>
            <a:r>
              <a:rPr lang="ko-KR" altLang="en-US" sz="1200" dirty="0" err="1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넥사크로와는</a:t>
            </a:r>
            <a:r>
              <a: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dirty="0" err="1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셋을</a:t>
            </a:r>
            <a:r>
              <a: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담는 구조에서는 약간의 차이가 존재하나 </a:t>
            </a:r>
            <a:r>
              <a:rPr lang="ko-KR" altLang="en-US" sz="1200" dirty="0" err="1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셋을</a:t>
            </a:r>
            <a:r>
              <a: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담아 전달하는 구조는 마찬가지이다</a:t>
            </a:r>
            <a:r>
              <a:rPr lang="en-US" altLang="ko-KR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</a:p>
          <a:p>
            <a:endParaRPr lang="en-US" altLang="ko-KR" sz="12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2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2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600" b="1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600" b="1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: 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 에서는 화면 별로 해당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를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담아 </a:t>
            </a:r>
            <a:r>
              <a:rPr lang="en-US" altLang="ko-KR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Smart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</a:t>
            </a:r>
            <a:r>
              <a:rPr lang="en-US" altLang="ko-KR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PLUS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호출하도록 구성한다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해당 </a:t>
            </a:r>
            <a:r>
              <a:rPr lang="ko-KR" altLang="en-US" sz="1200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파라미터를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Smart/Plus </a:t>
            </a:r>
            <a:r>
              <a:rPr lang="ko-KR" altLang="en-US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일 데이터를 기준으로 구성한다</a:t>
            </a:r>
            <a:r>
              <a:rPr lang="en-US" altLang="ko-KR" sz="1200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</a:p>
          <a:p>
            <a:endParaRPr lang="en-US" altLang="ko-KR" sz="1200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8" name="아래쪽 화살표 17"/>
          <p:cNvSpPr/>
          <p:nvPr/>
        </p:nvSpPr>
        <p:spPr>
          <a:xfrm>
            <a:off x="6187510" y="4819650"/>
            <a:ext cx="1692840" cy="298450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직사각형 73"/>
          <p:cNvSpPr/>
          <p:nvPr/>
        </p:nvSpPr>
        <p:spPr>
          <a:xfrm>
            <a:off x="4479924" y="2901950"/>
            <a:ext cx="4953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ublic class </a:t>
            </a:r>
            <a:r>
              <a:rPr lang="en-US" altLang="ko-KR" sz="1050" u="sng" dirty="0" err="1" smtClean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sCommMsgVO</a:t>
            </a:r>
            <a:r>
              <a:rPr lang="en-US" altLang="ko-KR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extends </a:t>
            </a:r>
            <a:r>
              <a:rPr lang="en-US" altLang="ko-KR" sz="1050" i="1" u="sng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gBascVO</a:t>
            </a:r>
            <a:r>
              <a:rPr lang="en-US" altLang="ko-KR" sz="1050" i="1" u="sng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(</a:t>
            </a:r>
            <a:r>
              <a:rPr lang="ko-KR" altLang="en-US" sz="1050" i="1" u="sng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받아주는 </a:t>
            </a:r>
            <a:r>
              <a:rPr lang="en-US" altLang="ko-KR" sz="1050" i="1" u="sng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VO)</a:t>
            </a:r>
            <a:endParaRPr lang="en-US" altLang="ko-KR" sz="1050" b="0" dirty="0">
              <a:effectLst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953000" y="1225550"/>
            <a:ext cx="3257550" cy="1587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93421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참조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.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해외영업 배치 테스트 구상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안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kumimoji="0" lang="ko-KR" altLang="en-US" sz="1500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-1574800" y="1004942"/>
            <a:ext cx="1460500" cy="60794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</a:rPr>
              <a:t>첨부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232" name="그룹 231"/>
          <p:cNvGrpSpPr/>
          <p:nvPr/>
        </p:nvGrpSpPr>
        <p:grpSpPr>
          <a:xfrm>
            <a:off x="35577" y="952500"/>
            <a:ext cx="9641824" cy="5698668"/>
            <a:chOff x="35576" y="4354"/>
            <a:chExt cx="11965031" cy="6644970"/>
          </a:xfrm>
        </p:grpSpPr>
        <p:sp>
          <p:nvSpPr>
            <p:cNvPr id="116" name="순서도: 처리 115"/>
            <p:cNvSpPr/>
            <p:nvPr/>
          </p:nvSpPr>
          <p:spPr>
            <a:xfrm>
              <a:off x="805073" y="4492269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생성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17" name="순서도: 처리 116"/>
            <p:cNvSpPr/>
            <p:nvPr/>
          </p:nvSpPr>
          <p:spPr>
            <a:xfrm>
              <a:off x="805073" y="1597745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2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컨펌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18" name="순서도: 처리 117"/>
            <p:cNvSpPr/>
            <p:nvPr/>
          </p:nvSpPr>
          <p:spPr>
            <a:xfrm>
              <a:off x="805073" y="2154210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19" name="순서도: 처리 118"/>
            <p:cNvSpPr/>
            <p:nvPr/>
          </p:nvSpPr>
          <p:spPr>
            <a:xfrm>
              <a:off x="805073" y="2707251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피킹지시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0" name="순서도: 처리 119"/>
            <p:cNvSpPr/>
            <p:nvPr/>
          </p:nvSpPr>
          <p:spPr>
            <a:xfrm>
              <a:off x="6241775" y="4492269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생성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1" name="순서도: 처리 120"/>
            <p:cNvSpPr/>
            <p:nvPr/>
          </p:nvSpPr>
          <p:spPr>
            <a:xfrm>
              <a:off x="6241775" y="1597745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 </a:t>
              </a:r>
              <a:r>
                <a:rPr lang="ko-KR" altLang="en-US" sz="12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컨펌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2" name="순서도: 처리 121"/>
            <p:cNvSpPr/>
            <p:nvPr/>
          </p:nvSpPr>
          <p:spPr>
            <a:xfrm>
              <a:off x="6241775" y="2154210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3" name="순서도: 처리 122"/>
            <p:cNvSpPr/>
            <p:nvPr/>
          </p:nvSpPr>
          <p:spPr>
            <a:xfrm>
              <a:off x="6241775" y="2707251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err="1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피킹지시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3808848" y="1624412"/>
              <a:ext cx="360452" cy="3229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A</a:t>
              </a:r>
              <a:endPara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330659" y="1624412"/>
              <a:ext cx="346528" cy="3229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altLang="ko-KR" sz="12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B</a:t>
              </a:r>
              <a:endPara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4834837" y="1624412"/>
              <a:ext cx="346528" cy="3229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C</a:t>
              </a:r>
              <a:endPara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27" name="직선 화살표 연결선 126"/>
            <p:cNvCxnSpPr>
              <a:stCxn id="124" idx="2"/>
            </p:cNvCxnSpPr>
            <p:nvPr/>
          </p:nvCxnSpPr>
          <p:spPr>
            <a:xfrm flipH="1">
              <a:off x="3979728" y="1947408"/>
              <a:ext cx="9346" cy="1245644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직선 화살표 연결선 127"/>
            <p:cNvCxnSpPr>
              <a:stCxn id="125" idx="2"/>
            </p:cNvCxnSpPr>
            <p:nvPr/>
          </p:nvCxnSpPr>
          <p:spPr>
            <a:xfrm flipH="1">
              <a:off x="4493525" y="1947408"/>
              <a:ext cx="10398" cy="693789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직선 화살표 연결선 128"/>
            <p:cNvCxnSpPr>
              <a:stCxn id="126" idx="2"/>
            </p:cNvCxnSpPr>
            <p:nvPr/>
          </p:nvCxnSpPr>
          <p:spPr>
            <a:xfrm flipH="1">
              <a:off x="5000108" y="1947408"/>
              <a:ext cx="7993" cy="138248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직선 연결선 129"/>
            <p:cNvCxnSpPr/>
            <p:nvPr/>
          </p:nvCxnSpPr>
          <p:spPr>
            <a:xfrm>
              <a:off x="805073" y="2085656"/>
              <a:ext cx="7474224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직선 연결선 130"/>
            <p:cNvCxnSpPr/>
            <p:nvPr/>
          </p:nvCxnSpPr>
          <p:spPr>
            <a:xfrm>
              <a:off x="805073" y="2641197"/>
              <a:ext cx="7474224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직선 연결선 131"/>
            <p:cNvCxnSpPr/>
            <p:nvPr/>
          </p:nvCxnSpPr>
          <p:spPr>
            <a:xfrm>
              <a:off x="805073" y="3193052"/>
              <a:ext cx="7474224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TextBox 132"/>
            <p:cNvSpPr txBox="1"/>
            <p:nvPr/>
          </p:nvSpPr>
          <p:spPr>
            <a:xfrm>
              <a:off x="1499065" y="4872209"/>
              <a:ext cx="634969" cy="32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b="1" dirty="0" smtClean="0">
                  <a:solidFill>
                    <a:srgbClr val="0070C0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ASIS</a:t>
              </a:r>
              <a:endParaRPr lang="ko-KR" altLang="en-US" sz="1200" b="1" dirty="0">
                <a:solidFill>
                  <a:srgbClr val="0070C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6935767" y="4872209"/>
              <a:ext cx="707934" cy="32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b="1" dirty="0" smtClean="0">
                  <a:solidFill>
                    <a:srgbClr val="0070C0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TOBE</a:t>
              </a:r>
              <a:endParaRPr lang="ko-KR" altLang="en-US" sz="1200" b="1" dirty="0">
                <a:solidFill>
                  <a:srgbClr val="0070C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35" name="직선 연결선 134"/>
            <p:cNvCxnSpPr/>
            <p:nvPr/>
          </p:nvCxnSpPr>
          <p:spPr>
            <a:xfrm>
              <a:off x="258417" y="1490873"/>
              <a:ext cx="80208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직선 화살표 연결선 135"/>
            <p:cNvCxnSpPr/>
            <p:nvPr/>
          </p:nvCxnSpPr>
          <p:spPr>
            <a:xfrm>
              <a:off x="327991" y="139148"/>
              <a:ext cx="0" cy="1351725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35576" y="652635"/>
              <a:ext cx="714538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napshot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38" name="직선 화살표 연결선 137"/>
            <p:cNvCxnSpPr/>
            <p:nvPr/>
          </p:nvCxnSpPr>
          <p:spPr>
            <a:xfrm>
              <a:off x="336471" y="1490873"/>
              <a:ext cx="0" cy="3677495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직선 연결선 138"/>
            <p:cNvCxnSpPr/>
            <p:nvPr/>
          </p:nvCxnSpPr>
          <p:spPr>
            <a:xfrm>
              <a:off x="258417" y="6540341"/>
              <a:ext cx="80208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139"/>
            <p:cNvSpPr txBox="1"/>
            <p:nvPr/>
          </p:nvSpPr>
          <p:spPr>
            <a:xfrm>
              <a:off x="525240" y="6416049"/>
              <a:ext cx="611098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tartup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79136" y="2858247"/>
              <a:ext cx="519591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Batch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42" name="직선 연결선 141"/>
            <p:cNvCxnSpPr/>
            <p:nvPr/>
          </p:nvCxnSpPr>
          <p:spPr>
            <a:xfrm>
              <a:off x="258417" y="140226"/>
              <a:ext cx="80208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TextBox 142"/>
            <p:cNvSpPr txBox="1"/>
            <p:nvPr/>
          </p:nvSpPr>
          <p:spPr>
            <a:xfrm>
              <a:off x="525240" y="4354"/>
              <a:ext cx="750345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hutdown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44" name="직선 화살표 연결선 143"/>
            <p:cNvCxnSpPr/>
            <p:nvPr/>
          </p:nvCxnSpPr>
          <p:spPr>
            <a:xfrm>
              <a:off x="3393359" y="908948"/>
              <a:ext cx="2302175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Box 144"/>
            <p:cNvSpPr txBox="1"/>
            <p:nvPr/>
          </p:nvSpPr>
          <p:spPr>
            <a:xfrm>
              <a:off x="4073706" y="770141"/>
              <a:ext cx="424107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이행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46" name="직선 화살표 연결선 145"/>
            <p:cNvCxnSpPr/>
            <p:nvPr/>
          </p:nvCxnSpPr>
          <p:spPr>
            <a:xfrm>
              <a:off x="335611" y="5182595"/>
              <a:ext cx="0" cy="1356564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TextBox 146"/>
            <p:cNvSpPr txBox="1"/>
            <p:nvPr/>
          </p:nvSpPr>
          <p:spPr>
            <a:xfrm>
              <a:off x="35576" y="5712879"/>
              <a:ext cx="714538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napshot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48" name="직선 연결선 147"/>
            <p:cNvCxnSpPr/>
            <p:nvPr/>
          </p:nvCxnSpPr>
          <p:spPr>
            <a:xfrm>
              <a:off x="258417" y="5168368"/>
              <a:ext cx="80208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직선 화살표 연결선 148"/>
            <p:cNvCxnSpPr/>
            <p:nvPr/>
          </p:nvCxnSpPr>
          <p:spPr>
            <a:xfrm>
              <a:off x="3162299" y="5849916"/>
              <a:ext cx="275977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TextBox 149"/>
            <p:cNvSpPr txBox="1"/>
            <p:nvPr/>
          </p:nvSpPr>
          <p:spPr>
            <a:xfrm>
              <a:off x="4073706" y="5705173"/>
              <a:ext cx="752334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DATA </a:t>
              </a:r>
              <a:r>
                <a:rPr lang="ko-KR" altLang="en-US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비교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8708994" y="163982"/>
              <a:ext cx="3291613" cy="305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 err="1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기준정보</a:t>
              </a:r>
              <a:r>
                <a:rPr lang="ko-KR" altLang="en-US" sz="11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동기화</a:t>
              </a:r>
              <a:endParaRPr lang="ko-KR" altLang="en-US" sz="11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52" name="직선 연결선 151"/>
            <p:cNvCxnSpPr/>
            <p:nvPr/>
          </p:nvCxnSpPr>
          <p:spPr>
            <a:xfrm>
              <a:off x="8708994" y="1480926"/>
              <a:ext cx="3291613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직선 연결선 152"/>
            <p:cNvCxnSpPr/>
            <p:nvPr/>
          </p:nvCxnSpPr>
          <p:spPr>
            <a:xfrm>
              <a:off x="8708994" y="6540341"/>
              <a:ext cx="3291613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직선 연결선 153"/>
            <p:cNvCxnSpPr/>
            <p:nvPr/>
          </p:nvCxnSpPr>
          <p:spPr>
            <a:xfrm>
              <a:off x="8708994" y="140226"/>
              <a:ext cx="3291613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직선 연결선 154"/>
            <p:cNvCxnSpPr/>
            <p:nvPr/>
          </p:nvCxnSpPr>
          <p:spPr>
            <a:xfrm>
              <a:off x="8708994" y="5168368"/>
              <a:ext cx="3291613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직선 연결선 155"/>
            <p:cNvCxnSpPr/>
            <p:nvPr/>
          </p:nvCxnSpPr>
          <p:spPr>
            <a:xfrm>
              <a:off x="8540318" y="127464"/>
              <a:ext cx="0" cy="6411695"/>
            </a:xfrm>
            <a:prstGeom prst="line">
              <a:avLst/>
            </a:prstGeom>
            <a:ln>
              <a:solidFill>
                <a:schemeClr val="tx1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직선 연결선 156"/>
            <p:cNvCxnSpPr/>
            <p:nvPr/>
          </p:nvCxnSpPr>
          <p:spPr>
            <a:xfrm>
              <a:off x="8708994" y="3263952"/>
              <a:ext cx="3291613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TextBox 157"/>
            <p:cNvSpPr txBox="1"/>
            <p:nvPr/>
          </p:nvSpPr>
          <p:spPr>
            <a:xfrm>
              <a:off x="8708994" y="1495781"/>
              <a:ext cx="3291613" cy="305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테스트 범위</a:t>
              </a:r>
              <a:endPara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8708994" y="3282378"/>
              <a:ext cx="3291613" cy="305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 err="1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화면비교</a:t>
              </a:r>
              <a:endParaRPr lang="ko-KR" altLang="en-US" sz="11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8708994" y="5172029"/>
              <a:ext cx="3291613" cy="305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데이터 비교</a:t>
              </a:r>
              <a:endParaRPr lang="ko-KR" altLang="en-US" sz="11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3694472" y="10763"/>
              <a:ext cx="1652826" cy="5203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12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해외영업 </a:t>
              </a:r>
              <a:r>
                <a:rPr lang="en-US" altLang="ko-KR" sz="12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DT #1</a:t>
              </a:r>
            </a:p>
            <a:p>
              <a:pPr algn="ctr"/>
              <a:r>
                <a:rPr lang="ko-KR" altLang="en-US" sz="1050" smtClean="0">
                  <a:solidFill>
                    <a:srgbClr val="FF0000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오더공정데이터</a:t>
              </a:r>
              <a:endParaRPr lang="ko-KR" altLang="en-US" sz="105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8708994" y="511261"/>
              <a:ext cx="3291613" cy="645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정보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 </a:t>
              </a:r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정보 </a:t>
              </a:r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SUB INVOCE</a:t>
              </a:r>
              <a:endParaRPr lang="en-US" altLang="ko-KR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/>
              <a:r>
                <a:rPr lang="ko-KR" altLang="en-US" sz="10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피킹지시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정보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재고 </a:t>
              </a:r>
              <a:r>
                <a:rPr lang="ko-KR" altLang="en-US" sz="10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수량정보</a:t>
              </a:r>
              <a:endParaRPr lang="en-US" altLang="ko-KR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/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부품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B/O </a:t>
              </a:r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정보 </a:t>
              </a:r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물류정보</a:t>
              </a:r>
              <a:endParaRPr lang="ko-KR" altLang="en-US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8708994" y="1849189"/>
              <a:ext cx="3291613" cy="645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전일 생성된 </a:t>
              </a:r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</a:t>
              </a:r>
            </a:p>
            <a:p>
              <a:pPr algn="ctr"/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B/O </a:t>
              </a:r>
            </a:p>
            <a:p>
              <a:pPr algn="ctr"/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당일 접수 법인 </a:t>
              </a:r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</a:t>
              </a:r>
              <a:endParaRPr lang="ko-KR" altLang="en-US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8708994" y="3625923"/>
              <a:ext cx="3291613" cy="466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10 vs HE024</a:t>
              </a:r>
            </a:p>
            <a:p>
              <a:pPr algn="ctr"/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15 vs HE042</a:t>
              </a:r>
              <a:endParaRPr lang="ko-KR" altLang="en-US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8708994" y="5514346"/>
              <a:ext cx="3291613" cy="8254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정보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 정보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SUB INVOCE</a:t>
              </a:r>
            </a:p>
            <a:p>
              <a:pPr algn="ctr"/>
              <a:r>
                <a:rPr lang="ko-KR" altLang="en-US" sz="10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피킹지시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정보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재고 </a:t>
              </a:r>
              <a:r>
                <a:rPr lang="ko-KR" altLang="en-US" sz="10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수량정보</a:t>
              </a:r>
              <a:endParaRPr lang="en-US" altLang="ko-KR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/>
              <a:r>
                <a:rPr lang="ko-KR" altLang="en-US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부품 </a:t>
              </a:r>
              <a:r>
                <a:rPr lang="en-US" altLang="ko-KR" sz="10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B/O </a:t>
              </a:r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정보 </a:t>
              </a:r>
              <a:r>
                <a:rPr lang="en-US" altLang="ko-KR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/ </a:t>
              </a:r>
              <a:r>
                <a:rPr lang="ko-KR" altLang="en-US" sz="10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물류정보</a:t>
              </a:r>
              <a:endParaRPr lang="ko-KR" altLang="en-US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/>
              <a:endParaRPr lang="ko-KR" altLang="en-US" sz="10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8708994" y="4096102"/>
              <a:ext cx="3291613" cy="610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7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10 : ONLINE ALLOCATION FOR GENERAL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7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024 : Allocation General by Manual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7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15 : ALLOCATION STATUS BY DIS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7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042 : Allocation Status by Distributor</a:t>
              </a:r>
            </a:p>
          </p:txBody>
        </p:sp>
        <p:sp>
          <p:nvSpPr>
            <p:cNvPr id="167" name="순서도: 자기 디스크 166"/>
            <p:cNvSpPr/>
            <p:nvPr/>
          </p:nvSpPr>
          <p:spPr>
            <a:xfrm>
              <a:off x="805072" y="255703"/>
              <a:ext cx="2588287" cy="115002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8" name="순서도: 처리 167"/>
            <p:cNvSpPr/>
            <p:nvPr/>
          </p:nvSpPr>
          <p:spPr>
            <a:xfrm>
              <a:off x="903343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I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69" name="순서도: 처리 168"/>
            <p:cNvSpPr/>
            <p:nvPr/>
          </p:nvSpPr>
          <p:spPr>
            <a:xfrm>
              <a:off x="1511972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P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0" name="순서도: 처리 169"/>
            <p:cNvSpPr/>
            <p:nvPr/>
          </p:nvSpPr>
          <p:spPr>
            <a:xfrm>
              <a:off x="903343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1" name="순서도: 처리 170"/>
            <p:cNvSpPr/>
            <p:nvPr/>
          </p:nvSpPr>
          <p:spPr>
            <a:xfrm>
              <a:off x="1511972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P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2" name="순서도: 처리 171"/>
            <p:cNvSpPr/>
            <p:nvPr/>
          </p:nvSpPr>
          <p:spPr>
            <a:xfrm>
              <a:off x="903343" y="103091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I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3" name="순서도: 처리 172"/>
            <p:cNvSpPr/>
            <p:nvPr/>
          </p:nvSpPr>
          <p:spPr>
            <a:xfrm>
              <a:off x="2120601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4" name="순서도: 처리 173"/>
            <p:cNvSpPr/>
            <p:nvPr/>
          </p:nvSpPr>
          <p:spPr>
            <a:xfrm>
              <a:off x="2120601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D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5" name="순서도: 다중 문서 174"/>
            <p:cNvSpPr/>
            <p:nvPr/>
          </p:nvSpPr>
          <p:spPr>
            <a:xfrm>
              <a:off x="1125035" y="3771553"/>
              <a:ext cx="1371600" cy="536040"/>
            </a:xfrm>
            <a:prstGeom prst="flowChartMultidocumen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1231181" y="3895904"/>
              <a:ext cx="931366" cy="287108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법인</a:t>
              </a:r>
              <a:r>
                <a:rPr lang="en-US" altLang="ko-KR" sz="10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</a:t>
              </a:r>
              <a:endParaRPr lang="ko-KR" altLang="en-US" sz="10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7" name="순서도: 자기 디스크 176"/>
            <p:cNvSpPr/>
            <p:nvPr/>
          </p:nvSpPr>
          <p:spPr>
            <a:xfrm>
              <a:off x="6241776" y="3724999"/>
              <a:ext cx="2037522" cy="655825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8" name="순서도: 처리 177"/>
            <p:cNvSpPr/>
            <p:nvPr/>
          </p:nvSpPr>
          <p:spPr>
            <a:xfrm>
              <a:off x="6652904" y="3992473"/>
              <a:ext cx="1215264" cy="325921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 altLang="ko-KR" sz="8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F </a:t>
              </a:r>
              <a:r>
                <a:rPr lang="ko-KR" altLang="en-US" sz="8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법인</a:t>
              </a:r>
              <a:r>
                <a:rPr lang="en-US" altLang="ko-KR" sz="8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</a:t>
              </a:r>
              <a:endParaRPr lang="ko-KR" altLang="en-US" sz="8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79" name="순서도: 처리 178"/>
            <p:cNvSpPr/>
            <p:nvPr/>
          </p:nvSpPr>
          <p:spPr>
            <a:xfrm>
              <a:off x="805073" y="3725000"/>
              <a:ext cx="2035434" cy="655824"/>
            </a:xfrm>
            <a:prstGeom prst="flowChartProcess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80" name="직선 화살표 연결선 179"/>
            <p:cNvCxnSpPr/>
            <p:nvPr/>
          </p:nvCxnSpPr>
          <p:spPr>
            <a:xfrm>
              <a:off x="2840507" y="4075266"/>
              <a:ext cx="3401269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TextBox 180"/>
            <p:cNvSpPr txBox="1"/>
            <p:nvPr/>
          </p:nvSpPr>
          <p:spPr>
            <a:xfrm>
              <a:off x="4073706" y="3950682"/>
              <a:ext cx="879646" cy="2332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700" b="1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NPUT DATA</a:t>
              </a:r>
              <a:endParaRPr lang="ko-KR" altLang="en-US" sz="7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3319668" y="1311520"/>
              <a:ext cx="2194539" cy="2960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1050" dirty="0" err="1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해외대리점</a:t>
              </a:r>
              <a:r>
                <a:rPr lang="ko-KR" altLang="en-US" sz="105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105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ROFORMA</a:t>
              </a:r>
              <a:r>
                <a:rPr lang="ko-KR" altLang="en-US" sz="105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코드</a:t>
              </a:r>
              <a:endParaRPr lang="ko-KR" altLang="en-US" sz="105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183" name="직선 화살표 연결선 182"/>
            <p:cNvCxnSpPr>
              <a:stCxn id="179" idx="2"/>
            </p:cNvCxnSpPr>
            <p:nvPr/>
          </p:nvCxnSpPr>
          <p:spPr>
            <a:xfrm>
              <a:off x="1822790" y="4380824"/>
              <a:ext cx="1044" cy="16594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직선 화살표 연결선 183"/>
            <p:cNvCxnSpPr>
              <a:stCxn id="177" idx="3"/>
            </p:cNvCxnSpPr>
            <p:nvPr/>
          </p:nvCxnSpPr>
          <p:spPr>
            <a:xfrm>
              <a:off x="7260537" y="4380824"/>
              <a:ext cx="0" cy="16594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5" name="순서도: 처리 184"/>
            <p:cNvSpPr/>
            <p:nvPr/>
          </p:nvSpPr>
          <p:spPr>
            <a:xfrm>
              <a:off x="805073" y="3249961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UB_INVOCE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6" name="순서도: 처리 185"/>
            <p:cNvSpPr/>
            <p:nvPr/>
          </p:nvSpPr>
          <p:spPr>
            <a:xfrm>
              <a:off x="6241775" y="3249961"/>
              <a:ext cx="2037522" cy="432173"/>
            </a:xfrm>
            <a:prstGeom prst="flowChartProcess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UB_INVOCE</a:t>
              </a:r>
              <a:endParaRPr lang="ko-KR" altLang="en-US" sz="12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7" name="순서도: 처리 186"/>
            <p:cNvSpPr/>
            <p:nvPr/>
          </p:nvSpPr>
          <p:spPr>
            <a:xfrm>
              <a:off x="2728363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A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8" name="순서도: 처리 187"/>
            <p:cNvSpPr/>
            <p:nvPr/>
          </p:nvSpPr>
          <p:spPr>
            <a:xfrm>
              <a:off x="2728363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A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9" name="순서도: 처리 188"/>
            <p:cNvSpPr/>
            <p:nvPr/>
          </p:nvSpPr>
          <p:spPr>
            <a:xfrm>
              <a:off x="1511972" y="103091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ON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0" name="순서도: 자기 디스크 189"/>
            <p:cNvSpPr/>
            <p:nvPr/>
          </p:nvSpPr>
          <p:spPr>
            <a:xfrm>
              <a:off x="5695534" y="255703"/>
              <a:ext cx="2588287" cy="115002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1" name="순서도: 처리 190"/>
            <p:cNvSpPr/>
            <p:nvPr/>
          </p:nvSpPr>
          <p:spPr>
            <a:xfrm>
              <a:off x="5793805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I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2" name="순서도: 처리 191"/>
            <p:cNvSpPr/>
            <p:nvPr/>
          </p:nvSpPr>
          <p:spPr>
            <a:xfrm>
              <a:off x="6402434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P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3" name="순서도: 처리 192"/>
            <p:cNvSpPr/>
            <p:nvPr/>
          </p:nvSpPr>
          <p:spPr>
            <a:xfrm>
              <a:off x="5793805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4" name="순서도: 처리 193"/>
            <p:cNvSpPr/>
            <p:nvPr/>
          </p:nvSpPr>
          <p:spPr>
            <a:xfrm>
              <a:off x="6402434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P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5" name="순서도: 처리 194"/>
            <p:cNvSpPr/>
            <p:nvPr/>
          </p:nvSpPr>
          <p:spPr>
            <a:xfrm>
              <a:off x="5793805" y="103091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I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6" name="순서도: 처리 195"/>
            <p:cNvSpPr/>
            <p:nvPr/>
          </p:nvSpPr>
          <p:spPr>
            <a:xfrm>
              <a:off x="7011063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7" name="순서도: 처리 196"/>
            <p:cNvSpPr/>
            <p:nvPr/>
          </p:nvSpPr>
          <p:spPr>
            <a:xfrm>
              <a:off x="7011063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D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8" name="순서도: 처리 197"/>
            <p:cNvSpPr/>
            <p:nvPr/>
          </p:nvSpPr>
          <p:spPr>
            <a:xfrm>
              <a:off x="7618825" y="71030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A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99" name="순서도: 처리 198"/>
            <p:cNvSpPr/>
            <p:nvPr/>
          </p:nvSpPr>
          <p:spPr>
            <a:xfrm>
              <a:off x="7618825" y="39975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A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0" name="순서도: 처리 199"/>
            <p:cNvSpPr/>
            <p:nvPr/>
          </p:nvSpPr>
          <p:spPr>
            <a:xfrm>
              <a:off x="6402434" y="103091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ON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1" name="순서도: 자기 디스크 200"/>
            <p:cNvSpPr/>
            <p:nvPr/>
          </p:nvSpPr>
          <p:spPr>
            <a:xfrm>
              <a:off x="5695534" y="5270553"/>
              <a:ext cx="2588287" cy="115002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2" name="순서도: 처리 201"/>
            <p:cNvSpPr/>
            <p:nvPr/>
          </p:nvSpPr>
          <p:spPr>
            <a:xfrm>
              <a:off x="5793805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I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3" name="순서도: 처리 202"/>
            <p:cNvSpPr/>
            <p:nvPr/>
          </p:nvSpPr>
          <p:spPr>
            <a:xfrm>
              <a:off x="6402434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P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4" name="순서도: 처리 203"/>
            <p:cNvSpPr/>
            <p:nvPr/>
          </p:nvSpPr>
          <p:spPr>
            <a:xfrm>
              <a:off x="5793805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5" name="순서도: 처리 204"/>
            <p:cNvSpPr/>
            <p:nvPr/>
          </p:nvSpPr>
          <p:spPr>
            <a:xfrm>
              <a:off x="6402434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P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6" name="순서도: 처리 205"/>
            <p:cNvSpPr/>
            <p:nvPr/>
          </p:nvSpPr>
          <p:spPr>
            <a:xfrm>
              <a:off x="5793805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I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7" name="순서도: 처리 206"/>
            <p:cNvSpPr/>
            <p:nvPr/>
          </p:nvSpPr>
          <p:spPr>
            <a:xfrm>
              <a:off x="7011063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8" name="순서도: 처리 207"/>
            <p:cNvSpPr/>
            <p:nvPr/>
          </p:nvSpPr>
          <p:spPr>
            <a:xfrm>
              <a:off x="7011063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D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09" name="순서도: 처리 208"/>
            <p:cNvSpPr/>
            <p:nvPr/>
          </p:nvSpPr>
          <p:spPr>
            <a:xfrm>
              <a:off x="7618825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A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0" name="순서도: 처리 209"/>
            <p:cNvSpPr/>
            <p:nvPr/>
          </p:nvSpPr>
          <p:spPr>
            <a:xfrm>
              <a:off x="7618825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A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1" name="순서도: 처리 210"/>
            <p:cNvSpPr/>
            <p:nvPr/>
          </p:nvSpPr>
          <p:spPr>
            <a:xfrm>
              <a:off x="6402434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ON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2" name="순서도: 자기 디스크 211"/>
            <p:cNvSpPr/>
            <p:nvPr/>
          </p:nvSpPr>
          <p:spPr>
            <a:xfrm>
              <a:off x="807127" y="5270553"/>
              <a:ext cx="2588287" cy="115002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3" name="순서도: 처리 212"/>
            <p:cNvSpPr/>
            <p:nvPr/>
          </p:nvSpPr>
          <p:spPr>
            <a:xfrm>
              <a:off x="905398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I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4" name="순서도: 처리 213"/>
            <p:cNvSpPr/>
            <p:nvPr/>
          </p:nvSpPr>
          <p:spPr>
            <a:xfrm>
              <a:off x="1514027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EPM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5" name="순서도: 처리 214"/>
            <p:cNvSpPr/>
            <p:nvPr/>
          </p:nvSpPr>
          <p:spPr>
            <a:xfrm>
              <a:off x="905398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6" name="순서도: 처리 215"/>
            <p:cNvSpPr/>
            <p:nvPr/>
          </p:nvSpPr>
          <p:spPr>
            <a:xfrm>
              <a:off x="1514027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ORP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7" name="순서도: 처리 216"/>
            <p:cNvSpPr/>
            <p:nvPr/>
          </p:nvSpPr>
          <p:spPr>
            <a:xfrm>
              <a:off x="905398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I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8" name="순서도: 처리 217"/>
            <p:cNvSpPr/>
            <p:nvPr/>
          </p:nvSpPr>
          <p:spPr>
            <a:xfrm>
              <a:off x="2122656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19" name="순서도: 처리 218"/>
            <p:cNvSpPr/>
            <p:nvPr/>
          </p:nvSpPr>
          <p:spPr>
            <a:xfrm>
              <a:off x="2122656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ALD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0" name="순서도: 처리 219"/>
            <p:cNvSpPr/>
            <p:nvPr/>
          </p:nvSpPr>
          <p:spPr>
            <a:xfrm>
              <a:off x="2730418" y="572515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AS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1" name="순서도: 처리 220"/>
            <p:cNvSpPr/>
            <p:nvPr/>
          </p:nvSpPr>
          <p:spPr>
            <a:xfrm>
              <a:off x="2730418" y="5414609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PAC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2" name="순서도: 처리 221"/>
            <p:cNvSpPr/>
            <p:nvPr/>
          </p:nvSpPr>
          <p:spPr>
            <a:xfrm>
              <a:off x="1514027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CON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3" name="순서도: 처리 222"/>
            <p:cNvSpPr/>
            <p:nvPr/>
          </p:nvSpPr>
          <p:spPr>
            <a:xfrm>
              <a:off x="2125420" y="103091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NI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4" name="순서도: 처리 223"/>
            <p:cNvSpPr/>
            <p:nvPr/>
          </p:nvSpPr>
          <p:spPr>
            <a:xfrm>
              <a:off x="7011063" y="1035077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NI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5" name="순서도: 처리 224"/>
            <p:cNvSpPr/>
            <p:nvPr/>
          </p:nvSpPr>
          <p:spPr>
            <a:xfrm>
              <a:off x="7011063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NI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6" name="순서도: 처리 225"/>
            <p:cNvSpPr/>
            <p:nvPr/>
          </p:nvSpPr>
          <p:spPr>
            <a:xfrm>
              <a:off x="2120250" y="6045763"/>
              <a:ext cx="558297" cy="243766"/>
            </a:xfrm>
            <a:prstGeom prst="flowChartProcess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ko-KR" sz="700" b="1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MNIH</a:t>
              </a:r>
              <a:endParaRPr lang="ko-KR" altLang="en-US" sz="700" b="1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7" name="TextBox 226"/>
            <p:cNvSpPr txBox="1"/>
            <p:nvPr/>
          </p:nvSpPr>
          <p:spPr>
            <a:xfrm>
              <a:off x="8055569" y="1576849"/>
              <a:ext cx="1349109" cy="37682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오더컨펌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110U</a:t>
              </a:r>
            </a:p>
            <a:p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오더재컨펌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(UP/MZ) : HEB0090U</a:t>
              </a:r>
            </a:p>
            <a:p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오더재컨펌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(SQ) : </a:t>
              </a:r>
              <a:r>
                <a:rPr lang="en-US" altLang="ko-KR" sz="5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HEB0100U</a:t>
              </a: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5116860" y="1880414"/>
              <a:ext cx="1219806" cy="73571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altLang="ko-KR" sz="500" dirty="0" smtClean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ORDER OFFER : HEB0010I</a:t>
              </a:r>
              <a:endParaRPr lang="en-US" altLang="ko-KR" sz="5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우선순위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200U</a:t>
              </a:r>
            </a:p>
            <a:p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요청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16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VOR : HEB017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C-G-E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타입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18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GENERAL : HEB023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할당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UMMARY : HEB0470U</a:t>
              </a:r>
              <a:endParaRPr lang="ko-KR" altLang="en-US" sz="5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7976261" y="2755530"/>
              <a:ext cx="1227763" cy="28710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ICKING </a:t>
              </a:r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스케쥴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270U</a:t>
              </a:r>
            </a:p>
            <a:p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ICKING 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지시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280U</a:t>
              </a:r>
              <a:endParaRPr lang="ko-KR" altLang="en-US" sz="5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4999397" y="4477945"/>
              <a:ext cx="1108409" cy="37682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ko-KR" altLang="en-US" sz="5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오더생성</a:t>
              </a:r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05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딜러직배오더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560U</a:t>
              </a:r>
            </a:p>
            <a:p>
              <a:r>
                <a:rPr lang="ko-KR" altLang="en-US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딜러직배주소 </a:t>
              </a:r>
              <a:r>
                <a:rPr lang="en-US" altLang="ko-KR" sz="5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: HEB0580U</a:t>
              </a:r>
              <a:endParaRPr lang="ko-KR" altLang="en-US" sz="5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231" name="직사각형 230"/>
            <p:cNvSpPr/>
            <p:nvPr/>
          </p:nvSpPr>
          <p:spPr>
            <a:xfrm>
              <a:off x="8055569" y="3320570"/>
              <a:ext cx="1386158" cy="300362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5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공정</a:t>
              </a:r>
              <a:r>
                <a:rPr lang="en-US" altLang="ko-KR" sz="500" dirty="0" smtClean="0">
                  <a:solidFill>
                    <a:schemeClr val="tx1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-Batch INVOCING : HEB0290U</a:t>
              </a:r>
              <a:endParaRPr lang="ko-KR" altLang="en-US" sz="500" dirty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2489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직사각형 223">
            <a:extLst>
              <a:ext uri="{FF2B5EF4-FFF2-40B4-BE49-F238E27FC236}">
                <a16:creationId xmlns:a16="http://schemas.microsoft.com/office/drawing/2014/main" id="{B9168A54-8972-4395-88EA-908B23143738}"/>
              </a:ext>
            </a:extLst>
          </p:cNvPr>
          <p:cNvSpPr/>
          <p:nvPr/>
        </p:nvSpPr>
        <p:spPr bwMode="auto">
          <a:xfrm>
            <a:off x="5025462" y="1881188"/>
            <a:ext cx="4644000" cy="45720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127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0" name="Rectangle 20">
            <a:extLst>
              <a:ext uri="{FF2B5EF4-FFF2-40B4-BE49-F238E27FC236}">
                <a16:creationId xmlns:a16="http://schemas.microsoft.com/office/drawing/2014/main" id="{A74946D9-7577-4554-9935-00D7596324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3038" y="2744630"/>
            <a:ext cx="1556938" cy="2569464"/>
          </a:xfrm>
          <a:prstGeom prst="rect">
            <a:avLst/>
          </a:prstGeom>
          <a:solidFill>
            <a:srgbClr val="DEEBF7"/>
          </a:solidFill>
          <a:ln w="6350" algn="ctr">
            <a:noFill/>
            <a:round/>
            <a:headEnd/>
            <a:tailEnd/>
          </a:ln>
          <a:effectLst>
            <a:innerShdw dist="25400" dir="16200000">
              <a:srgbClr val="CBCBCB"/>
            </a:innerShdw>
          </a:effectLst>
        </p:spPr>
        <p:txBody>
          <a:bodyPr lIns="90141" tIns="0" rIns="90141" bIns="0" anchor="ctr"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/>
          <a:p>
            <a:pPr marL="0" marR="0" lvl="0" indent="0" algn="ctr" defTabSz="9739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65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8185641" y="4564161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61" name="원통 35">
            <a:extLst>
              <a:ext uri="{FF2B5EF4-FFF2-40B4-BE49-F238E27FC236}">
                <a16:creationId xmlns:a16="http://schemas.microsoft.com/office/drawing/2014/main" id="{B3DF32D1-2D60-4E6A-8289-53DEBCC71A80}"/>
              </a:ext>
            </a:extLst>
          </p:cNvPr>
          <p:cNvSpPr/>
          <p:nvPr/>
        </p:nvSpPr>
        <p:spPr>
          <a:xfrm>
            <a:off x="8039392" y="2841077"/>
            <a:ext cx="1080449" cy="534488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565146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주요 트랜잭션 처리 업무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입고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저장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 err="1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피킹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패킹 등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에 대해 선정된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화면을 대상으로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다양한 케이스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(“Mass Data”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로 명명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,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실제로는 하루에 발생한 모든 케이스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)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에 대한 테스트를 통해 시스템 </a:t>
            </a:r>
            <a:r>
              <a:rPr kumimoji="1" lang="ko-KR" altLang="en-US" sz="1600" b="0" i="0" u="none" strike="noStrike" kern="1200" cap="none" spc="-40" normalizeH="0" baseline="0" noProof="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결함을 최소화하여 안정적인 시스템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구축</a:t>
            </a:r>
            <a:endParaRPr kumimoji="1" lang="en-US" altLang="ko-KR" sz="1600" b="0" i="0" u="none" strike="noStrike" kern="1200" cap="none" spc="-40" normalizeH="0" baseline="0" noProof="0" dirty="0" smtClean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ko-KR" sz="2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B" pitchFamily="18" charset="-127"/>
                <a:ea typeface="현대하모니 B" pitchFamily="18" charset="-127"/>
                <a:cs typeface="+mn-cs"/>
              </a:rPr>
              <a:t>I.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MDT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 개요</a:t>
            </a:r>
            <a:endParaRPr lang="ko-KR" altLang="en-US" sz="2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23" name="직사각형 222">
            <a:extLst>
              <a:ext uri="{FF2B5EF4-FFF2-40B4-BE49-F238E27FC236}">
                <a16:creationId xmlns:a16="http://schemas.microsoft.com/office/drawing/2014/main" id="{6CC6C1FB-E6B3-4417-8D7C-B4201FE356A0}"/>
              </a:ext>
            </a:extLst>
          </p:cNvPr>
          <p:cNvSpPr/>
          <p:nvPr/>
        </p:nvSpPr>
        <p:spPr bwMode="auto">
          <a:xfrm>
            <a:off x="5025462" y="1536608"/>
            <a:ext cx="4644000" cy="32760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5" name="직사각형 224">
            <a:extLst>
              <a:ext uri="{FF2B5EF4-FFF2-40B4-BE49-F238E27FC236}">
                <a16:creationId xmlns:a16="http://schemas.microsoft.com/office/drawing/2014/main" id="{BEE9B21B-36BE-4594-B73A-D3084315E5AB}"/>
              </a:ext>
            </a:extLst>
          </p:cNvPr>
          <p:cNvSpPr/>
          <p:nvPr/>
        </p:nvSpPr>
        <p:spPr>
          <a:xfrm>
            <a:off x="5307597" y="1592689"/>
            <a:ext cx="4079731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Mass Data </a:t>
            </a:r>
            <a:r>
              <a:rPr kumimoji="1" lang="ko-KR" altLang="en-US" sz="1400" b="0" i="0" u="none" strike="noStrike" kern="0" cap="none" spc="0" normalizeH="0" baseline="0" noProof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테스트 절차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104048B1-702A-46C4-8998-9C2F4C6CEA35}"/>
              </a:ext>
            </a:extLst>
          </p:cNvPr>
          <p:cNvSpPr/>
          <p:nvPr/>
        </p:nvSpPr>
        <p:spPr bwMode="auto">
          <a:xfrm>
            <a:off x="205619" y="1536609"/>
            <a:ext cx="4644000" cy="33532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A36A58AE-2A5A-4597-951D-F9C35D51C426}"/>
              </a:ext>
            </a:extLst>
          </p:cNvPr>
          <p:cNvSpPr/>
          <p:nvPr/>
        </p:nvSpPr>
        <p:spPr bwMode="auto">
          <a:xfrm>
            <a:off x="205619" y="1881188"/>
            <a:ext cx="4644000" cy="4572001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127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859EB27B-146F-4EF6-9A42-F673EF2655C5}"/>
              </a:ext>
            </a:extLst>
          </p:cNvPr>
          <p:cNvSpPr/>
          <p:nvPr/>
        </p:nvSpPr>
        <p:spPr>
          <a:xfrm>
            <a:off x="484232" y="1595103"/>
            <a:ext cx="4086775" cy="21833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ass Data </a:t>
            </a:r>
            <a:r>
              <a:rPr kumimoji="1" lang="ko-KR" altLang="en-US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테스트 개요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5C7A957-72A0-40E5-AD52-7DEAFC94C4FF}"/>
              </a:ext>
            </a:extLst>
          </p:cNvPr>
          <p:cNvSpPr txBox="1"/>
          <p:nvPr/>
        </p:nvSpPr>
        <p:spPr>
          <a:xfrm>
            <a:off x="5337680" y="1972307"/>
            <a:ext cx="4331783" cy="2369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예외 </a:t>
            </a:r>
            <a:r>
              <a:rPr kumimoji="1" lang="en-US" altLang="ko-KR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Case</a:t>
            </a:r>
            <a:r>
              <a:rPr kumimoji="1" lang="ko-KR" altLang="en-US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테스트 누락 방지를 위해 실 데이터 기반 정합성 검증 </a:t>
            </a:r>
            <a:endParaRPr kumimoji="1" lang="ko-KR" altLang="en-US" sz="1400" b="0" i="0" u="none" strike="noStrike" kern="1200" cap="none" spc="-70" normalizeH="0" noProof="0" dirty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FE668BB1-5F28-4A38-A4E3-EDDDB511DB1A}"/>
              </a:ext>
            </a:extLst>
          </p:cNvPr>
          <p:cNvGrpSpPr/>
          <p:nvPr/>
        </p:nvGrpSpPr>
        <p:grpSpPr>
          <a:xfrm>
            <a:off x="5133961" y="1975309"/>
            <a:ext cx="161925" cy="230982"/>
            <a:chOff x="279240" y="1960905"/>
            <a:chExt cx="161925" cy="230982"/>
          </a:xfrm>
        </p:grpSpPr>
        <p:sp>
          <p:nvSpPr>
            <p:cNvPr id="89" name="자유형 32">
              <a:extLst>
                <a:ext uri="{FF2B5EF4-FFF2-40B4-BE49-F238E27FC236}">
                  <a16:creationId xmlns:a16="http://schemas.microsoft.com/office/drawing/2014/main" id="{D0708FE1-323A-4218-8001-A66BDC016D71}"/>
                </a:ext>
              </a:extLst>
            </p:cNvPr>
            <p:cNvSpPr/>
            <p:nvPr/>
          </p:nvSpPr>
          <p:spPr>
            <a:xfrm>
              <a:off x="279240" y="1960905"/>
              <a:ext cx="161925" cy="154781"/>
            </a:xfrm>
            <a:custGeom>
              <a:avLst/>
              <a:gdLst>
                <a:gd name="connsiteX0" fmla="*/ 2381 w 161925"/>
                <a:gd name="connsiteY0" fmla="*/ 0 h 154781"/>
                <a:gd name="connsiteX1" fmla="*/ 161925 w 161925"/>
                <a:gd name="connsiteY1" fmla="*/ 73819 h 154781"/>
                <a:gd name="connsiteX2" fmla="*/ 161925 w 161925"/>
                <a:gd name="connsiteY2" fmla="*/ 154781 h 154781"/>
                <a:gd name="connsiteX3" fmla="*/ 0 w 161925"/>
                <a:gd name="connsiteY3" fmla="*/ 85725 h 154781"/>
                <a:gd name="connsiteX4" fmla="*/ 2381 w 161925"/>
                <a:gd name="connsiteY4" fmla="*/ 0 h 15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54781">
                  <a:moveTo>
                    <a:pt x="2381" y="0"/>
                  </a:moveTo>
                  <a:lnTo>
                    <a:pt x="161925" y="73819"/>
                  </a:lnTo>
                  <a:lnTo>
                    <a:pt x="161925" y="154781"/>
                  </a:lnTo>
                  <a:lnTo>
                    <a:pt x="0" y="85725"/>
                  </a:lnTo>
                  <a:cubicBezTo>
                    <a:pt x="794" y="57150"/>
                    <a:pt x="1587" y="28575"/>
                    <a:pt x="2381" y="0"/>
                  </a:cubicBezTo>
                  <a:close/>
                </a:path>
              </a:pathLst>
            </a:custGeom>
            <a:solidFill>
              <a:srgbClr val="3384BE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2BDF4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90" name="자유형 33">
              <a:extLst>
                <a:ext uri="{FF2B5EF4-FFF2-40B4-BE49-F238E27FC236}">
                  <a16:creationId xmlns:a16="http://schemas.microsoft.com/office/drawing/2014/main" id="{E98B7C18-8F24-41BB-BEF6-AFD045AA0881}"/>
                </a:ext>
              </a:extLst>
            </p:cNvPr>
            <p:cNvSpPr/>
            <p:nvPr/>
          </p:nvSpPr>
          <p:spPr>
            <a:xfrm flipH="1">
              <a:off x="279240" y="2037106"/>
              <a:ext cx="161925" cy="154781"/>
            </a:xfrm>
            <a:custGeom>
              <a:avLst/>
              <a:gdLst>
                <a:gd name="connsiteX0" fmla="*/ 2381 w 161925"/>
                <a:gd name="connsiteY0" fmla="*/ 0 h 154781"/>
                <a:gd name="connsiteX1" fmla="*/ 161925 w 161925"/>
                <a:gd name="connsiteY1" fmla="*/ 73819 h 154781"/>
                <a:gd name="connsiteX2" fmla="*/ 161925 w 161925"/>
                <a:gd name="connsiteY2" fmla="*/ 154781 h 154781"/>
                <a:gd name="connsiteX3" fmla="*/ 0 w 161925"/>
                <a:gd name="connsiteY3" fmla="*/ 85725 h 154781"/>
                <a:gd name="connsiteX4" fmla="*/ 2381 w 161925"/>
                <a:gd name="connsiteY4" fmla="*/ 0 h 15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54781">
                  <a:moveTo>
                    <a:pt x="2381" y="0"/>
                  </a:moveTo>
                  <a:lnTo>
                    <a:pt x="161925" y="73819"/>
                  </a:lnTo>
                  <a:lnTo>
                    <a:pt x="161925" y="154781"/>
                  </a:lnTo>
                  <a:lnTo>
                    <a:pt x="0" y="85725"/>
                  </a:lnTo>
                  <a:cubicBezTo>
                    <a:pt x="794" y="57150"/>
                    <a:pt x="1587" y="28575"/>
                    <a:pt x="2381" y="0"/>
                  </a:cubicBezTo>
                  <a:close/>
                </a:path>
              </a:pathLst>
            </a:custGeom>
            <a:solidFill>
              <a:srgbClr val="002F66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solidFill>
                    <a:srgbClr val="42BDF4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47C1E743-1ED7-4AD8-A11D-83D18C617F3A}"/>
              </a:ext>
            </a:extLst>
          </p:cNvPr>
          <p:cNvSpPr/>
          <p:nvPr/>
        </p:nvSpPr>
        <p:spPr>
          <a:xfrm>
            <a:off x="7823038" y="2494271"/>
            <a:ext cx="1558706" cy="2520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To-Be</a:t>
            </a:r>
            <a:r>
              <a:rPr kumimoji="1" lang="ko-KR" altLang="en-US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 </a:t>
            </a:r>
            <a:r>
              <a:rPr kumimoji="1" lang="ko-KR" altLang="en-US" sz="1300" b="0" i="0" u="none" strike="noStrike" kern="0" cap="none" spc="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시스템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C4A1CB29-D85A-4EF6-952C-E45FD63CBFA0}"/>
              </a:ext>
            </a:extLst>
          </p:cNvPr>
          <p:cNvSpPr/>
          <p:nvPr/>
        </p:nvSpPr>
        <p:spPr>
          <a:xfrm>
            <a:off x="5242906" y="2494271"/>
            <a:ext cx="1477993" cy="2520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As-Is </a:t>
            </a:r>
            <a:r>
              <a:rPr kumimoji="1" lang="ko-KR" altLang="en-US" sz="1300" b="0" i="0" u="none" strike="noStrike" kern="0" cap="none" spc="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시스템</a:t>
            </a:r>
          </a:p>
        </p:txBody>
      </p:sp>
      <p:sp>
        <p:nvSpPr>
          <p:cNvPr id="83" name="Rectangle 20">
            <a:extLst>
              <a:ext uri="{FF2B5EF4-FFF2-40B4-BE49-F238E27FC236}">
                <a16:creationId xmlns:a16="http://schemas.microsoft.com/office/drawing/2014/main" id="{411AAE6D-80F2-4BF9-B681-894F17F3FA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2906" y="2744630"/>
            <a:ext cx="1476316" cy="2569464"/>
          </a:xfrm>
          <a:prstGeom prst="rect">
            <a:avLst/>
          </a:prstGeom>
          <a:solidFill>
            <a:srgbClr val="FFF2CC"/>
          </a:solidFill>
          <a:ln w="6350" algn="ctr">
            <a:noFill/>
            <a:round/>
            <a:headEnd/>
            <a:tailEnd/>
          </a:ln>
          <a:effectLst>
            <a:innerShdw dist="25400" dir="16200000">
              <a:srgbClr val="CBCBCB"/>
            </a:innerShdw>
          </a:effectLst>
        </p:spPr>
        <p:txBody>
          <a:bodyPr lIns="90141" tIns="0" rIns="90141" bIns="0" anchor="ctr"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/>
          <a:p>
            <a:pPr marL="0" marR="0" lvl="0" indent="0" algn="ctr" defTabSz="9739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84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5424021" y="4581463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86" name="원통 35">
            <a:extLst>
              <a:ext uri="{FF2B5EF4-FFF2-40B4-BE49-F238E27FC236}">
                <a16:creationId xmlns:a16="http://schemas.microsoft.com/office/drawing/2014/main" id="{B3DF32D1-2D60-4E6A-8289-53DEBCC71A80}"/>
              </a:ext>
            </a:extLst>
          </p:cNvPr>
          <p:cNvSpPr/>
          <p:nvPr/>
        </p:nvSpPr>
        <p:spPr>
          <a:xfrm>
            <a:off x="5424021" y="2841077"/>
            <a:ext cx="1080449" cy="534488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A7B1010-B638-49EB-8981-5C1AFE49CC84}"/>
              </a:ext>
            </a:extLst>
          </p:cNvPr>
          <p:cNvSpPr txBox="1"/>
          <p:nvPr/>
        </p:nvSpPr>
        <p:spPr>
          <a:xfrm>
            <a:off x="5305447" y="3651337"/>
            <a:ext cx="1328068" cy="546300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>
              <a:spcBef>
                <a:spcPts val="1000"/>
              </a:spcBef>
              <a:defRPr sz="110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② 당일 트랜잭션 데이터</a:t>
            </a:r>
            <a:r>
              <a:rPr kumimoji="1" lang="en-US" altLang="ko-KR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추출</a:t>
            </a:r>
            <a:endParaRPr kumimoji="1" lang="en-US" altLang="ko-KR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A403CFB-CC6F-441C-B7F0-B6AA20B5FDE1}"/>
              </a:ext>
            </a:extLst>
          </p:cNvPr>
          <p:cNvSpPr/>
          <p:nvPr/>
        </p:nvSpPr>
        <p:spPr bwMode="auto">
          <a:xfrm>
            <a:off x="5517162" y="2919221"/>
            <a:ext cx="84418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D-1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 </a:t>
            </a: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데이터</a:t>
            </a:r>
            <a:endParaRPr kumimoji="1" lang="ko-KR" altLang="en-US" sz="11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2C53DC28-6656-4512-9A8D-30633A604DB3}"/>
              </a:ext>
            </a:extLst>
          </p:cNvPr>
          <p:cNvSpPr/>
          <p:nvPr/>
        </p:nvSpPr>
        <p:spPr bwMode="auto">
          <a:xfrm>
            <a:off x="5591984" y="4656885"/>
            <a:ext cx="72447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latinLnBrk="0" hangingPunct="0">
              <a:spcBef>
                <a:spcPts val="1000"/>
              </a:spcBef>
              <a:spcAft>
                <a:spcPct val="0"/>
              </a:spcAft>
              <a:defRPr/>
            </a:pPr>
            <a:r>
              <a:rPr kumimoji="1" lang="en-US" altLang="ko-KR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D-0 </a:t>
            </a:r>
            <a:r>
              <a:rPr kumimoji="1" lang="ko-KR" altLang="en-US" sz="11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데이터</a:t>
            </a:r>
          </a:p>
        </p:txBody>
      </p: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79FF07E9-B0C3-4A92-BCA2-4619FEA96D4A}"/>
              </a:ext>
            </a:extLst>
          </p:cNvPr>
          <p:cNvCxnSpPr/>
          <p:nvPr/>
        </p:nvCxnSpPr>
        <p:spPr>
          <a:xfrm flipV="1">
            <a:off x="8360250" y="3976842"/>
            <a:ext cx="143432" cy="971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A77F1FAA-D0E8-4D2F-A357-41462BD91472}"/>
              </a:ext>
            </a:extLst>
          </p:cNvPr>
          <p:cNvSpPr txBox="1"/>
          <p:nvPr/>
        </p:nvSpPr>
        <p:spPr>
          <a:xfrm>
            <a:off x="7964425" y="3678266"/>
            <a:ext cx="1296226" cy="492443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 lIns="36000" rIns="36000" rtlCol="0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④ </a:t>
            </a:r>
            <a:r>
              <a:rPr kumimoji="1" lang="en-US" altLang="ko-KR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트랜잭션  실행</a:t>
            </a:r>
            <a:endParaRPr kumimoji="1" lang="en-US" altLang="ko-KR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7A9934F7-88C0-4E52-82C3-0E816C34174F}"/>
              </a:ext>
            </a:extLst>
          </p:cNvPr>
          <p:cNvSpPr/>
          <p:nvPr/>
        </p:nvSpPr>
        <p:spPr bwMode="auto">
          <a:xfrm>
            <a:off x="8297170" y="2901271"/>
            <a:ext cx="608673" cy="526554"/>
          </a:xfrm>
          <a:prstGeom prst="rect">
            <a:avLst/>
          </a:prstGeom>
          <a:noFill/>
          <a:ln w="12700">
            <a:noFill/>
          </a:ln>
        </p:spPr>
        <p:txBody>
          <a:bodyPr wrap="square" lIns="36000" tIns="0" rIns="36000" bIns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-1 </a:t>
            </a: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 데이터</a:t>
            </a:r>
            <a:endParaRPr kumimoji="1" lang="ko-KR" altLang="en-US" sz="11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cxnSp>
        <p:nvCxnSpPr>
          <p:cNvPr id="133" name="직선 화살표 연결선 132">
            <a:extLst>
              <a:ext uri="{FF2B5EF4-FFF2-40B4-BE49-F238E27FC236}">
                <a16:creationId xmlns:a16="http://schemas.microsoft.com/office/drawing/2014/main" id="{A23D10C2-3B72-46B9-9E6E-D59A712EE406}"/>
              </a:ext>
            </a:extLst>
          </p:cNvPr>
          <p:cNvCxnSpPr>
            <a:stCxn id="86" idx="4"/>
          </p:cNvCxnSpPr>
          <p:nvPr/>
        </p:nvCxnSpPr>
        <p:spPr>
          <a:xfrm>
            <a:off x="6504470" y="3108321"/>
            <a:ext cx="1457113" cy="1314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직선 화살표 연결선 133">
            <a:extLst>
              <a:ext uri="{FF2B5EF4-FFF2-40B4-BE49-F238E27FC236}">
                <a16:creationId xmlns:a16="http://schemas.microsoft.com/office/drawing/2014/main" id="{7288234A-C242-45C5-A277-C19B48A50116}"/>
              </a:ext>
            </a:extLst>
          </p:cNvPr>
          <p:cNvCxnSpPr>
            <a:stCxn id="95" idx="3"/>
            <a:endCxn id="130" idx="1"/>
          </p:cNvCxnSpPr>
          <p:nvPr/>
        </p:nvCxnSpPr>
        <p:spPr>
          <a:xfrm>
            <a:off x="6633515" y="3924487"/>
            <a:ext cx="1330910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498E97AF-898E-4FCB-9820-EDF297FA71D2}"/>
              </a:ext>
            </a:extLst>
          </p:cNvPr>
          <p:cNvSpPr/>
          <p:nvPr/>
        </p:nvSpPr>
        <p:spPr>
          <a:xfrm>
            <a:off x="6669301" y="3483312"/>
            <a:ext cx="11751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2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③ </a:t>
            </a:r>
            <a:r>
              <a:rPr kumimoji="1" lang="en-US" altLang="ko-KR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MDT </a:t>
            </a: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트랜잭션 데이터  생성</a:t>
            </a:r>
            <a:endParaRPr kumimoji="1" lang="en-US" altLang="ko-KR" sz="12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3F11EDF8-9799-4BB1-BF91-F59CD3BEB575}"/>
              </a:ext>
            </a:extLst>
          </p:cNvPr>
          <p:cNvSpPr/>
          <p:nvPr/>
        </p:nvSpPr>
        <p:spPr>
          <a:xfrm>
            <a:off x="6738504" y="2845786"/>
            <a:ext cx="9829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① </a:t>
            </a: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데이터 이행</a:t>
            </a:r>
            <a:endParaRPr kumimoji="1" lang="ko-KR" altLang="en-US" sz="12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698160D5-C19F-4EA6-9771-49864C41767E}"/>
              </a:ext>
            </a:extLst>
          </p:cNvPr>
          <p:cNvSpPr/>
          <p:nvPr/>
        </p:nvSpPr>
        <p:spPr>
          <a:xfrm>
            <a:off x="7066048" y="5370573"/>
            <a:ext cx="972000" cy="492443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⑤ 처리결과 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비교</a:t>
            </a:r>
            <a:r>
              <a:rPr kumimoji="1" lang="en-US" altLang="ko-KR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/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검증</a:t>
            </a:r>
            <a:endParaRPr kumimoji="1" lang="ko-KR" altLang="en-US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8" name="AutoShape 237">
            <a:extLst>
              <a:ext uri="{FF2B5EF4-FFF2-40B4-BE49-F238E27FC236}">
                <a16:creationId xmlns:a16="http://schemas.microsoft.com/office/drawing/2014/main" id="{4A3827D6-2F10-43E0-AD10-E56AA3C98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63" y="6069518"/>
            <a:ext cx="803455" cy="286023"/>
          </a:xfrm>
          <a:prstGeom prst="flowChartDecision">
            <a:avLst/>
          </a:prstGeom>
          <a:solidFill>
            <a:srgbClr val="3384BE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일치</a:t>
            </a:r>
          </a:p>
        </p:txBody>
      </p: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8576DD8A-FFD6-4974-B0E6-CCEAC72CA1B5}"/>
              </a:ext>
            </a:extLst>
          </p:cNvPr>
          <p:cNvCxnSpPr>
            <a:stCxn id="138" idx="1"/>
            <a:endCxn id="140" idx="3"/>
          </p:cNvCxnSpPr>
          <p:nvPr/>
        </p:nvCxnSpPr>
        <p:spPr>
          <a:xfrm flipH="1">
            <a:off x="6830048" y="6212530"/>
            <a:ext cx="313715" cy="5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F9691269-52FF-41A0-9822-A9AC1402234E}"/>
              </a:ext>
            </a:extLst>
          </p:cNvPr>
          <p:cNvSpPr/>
          <p:nvPr/>
        </p:nvSpPr>
        <p:spPr bwMode="auto">
          <a:xfrm>
            <a:off x="5892654" y="6029027"/>
            <a:ext cx="937394" cy="36818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테스트 결과 보고</a:t>
            </a:r>
            <a:endParaRPr kumimoji="1" lang="en-US" altLang="ko-KR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41" name="Rectangle 235">
            <a:extLst>
              <a:ext uri="{FF2B5EF4-FFF2-40B4-BE49-F238E27FC236}">
                <a16:creationId xmlns:a16="http://schemas.microsoft.com/office/drawing/2014/main" id="{D58A03FE-1D4B-4F28-A784-0CD8AAD3DA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6738" y="6079890"/>
            <a:ext cx="177360" cy="12226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YES</a:t>
            </a:r>
          </a:p>
        </p:txBody>
      </p:sp>
      <p:sp>
        <p:nvSpPr>
          <p:cNvPr id="148" name="Rectangle 236">
            <a:extLst>
              <a:ext uri="{FF2B5EF4-FFF2-40B4-BE49-F238E27FC236}">
                <a16:creationId xmlns:a16="http://schemas.microsoft.com/office/drawing/2014/main" id="{4E3232C3-EE55-4D1A-96CA-75D70B38A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82380" y="6034799"/>
            <a:ext cx="142791" cy="11814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NO</a:t>
            </a:r>
          </a:p>
        </p:txBody>
      </p:sp>
      <p:sp>
        <p:nvSpPr>
          <p:cNvPr id="149" name="Text Box 155">
            <a:extLst>
              <a:ext uri="{FF2B5EF4-FFF2-40B4-BE49-F238E27FC236}">
                <a16:creationId xmlns:a16="http://schemas.microsoft.com/office/drawing/2014/main" id="{DB8B8AC9-4F98-48B9-9C42-19A3DEB63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3932" y="6030912"/>
            <a:ext cx="1201116" cy="363234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관련 설계사항 변경</a:t>
            </a:r>
            <a: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/>
            </a:r>
            <a:b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</a:b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및</a:t>
            </a:r>
            <a: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 </a:t>
            </a: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프로그램 수정</a:t>
            </a:r>
          </a:p>
        </p:txBody>
      </p:sp>
      <p:cxnSp>
        <p:nvCxnSpPr>
          <p:cNvPr id="150" name="꺾인 연결선 184">
            <a:extLst>
              <a:ext uri="{FF2B5EF4-FFF2-40B4-BE49-F238E27FC236}">
                <a16:creationId xmlns:a16="http://schemas.microsoft.com/office/drawing/2014/main" id="{2F3B6EAE-7945-4F4E-9D56-F008210FEB9D}"/>
              </a:ext>
            </a:extLst>
          </p:cNvPr>
          <p:cNvCxnSpPr>
            <a:stCxn id="138" idx="3"/>
            <a:endCxn id="149" idx="1"/>
          </p:cNvCxnSpPr>
          <p:nvPr/>
        </p:nvCxnSpPr>
        <p:spPr>
          <a:xfrm flipV="1">
            <a:off x="7947218" y="6212529"/>
            <a:ext cx="246714" cy="1"/>
          </a:xfrm>
          <a:prstGeom prst="bentConnector3">
            <a:avLst>
              <a:gd name="adj1" fmla="val 50000"/>
            </a:avLst>
          </a:prstGeom>
          <a:ln>
            <a:solidFill>
              <a:srgbClr val="969696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꺾인 연결선 185">
            <a:extLst>
              <a:ext uri="{FF2B5EF4-FFF2-40B4-BE49-F238E27FC236}">
                <a16:creationId xmlns:a16="http://schemas.microsoft.com/office/drawing/2014/main" id="{634E928C-E57C-4ADA-AEEA-9D5EAEDD6804}"/>
              </a:ext>
            </a:extLst>
          </p:cNvPr>
          <p:cNvCxnSpPr>
            <a:stCxn id="149" idx="3"/>
            <a:endCxn id="130" idx="3"/>
          </p:cNvCxnSpPr>
          <p:nvPr/>
        </p:nvCxnSpPr>
        <p:spPr>
          <a:xfrm flipH="1" flipV="1">
            <a:off x="9260651" y="3924488"/>
            <a:ext cx="134397" cy="2288041"/>
          </a:xfrm>
          <a:prstGeom prst="bentConnector3">
            <a:avLst>
              <a:gd name="adj1" fmla="val -170093"/>
            </a:avLst>
          </a:prstGeom>
          <a:ln>
            <a:solidFill>
              <a:srgbClr val="969696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A09FA813-EF1C-46B8-8233-0E1EA8A010EE}"/>
              </a:ext>
            </a:extLst>
          </p:cNvPr>
          <p:cNvGrpSpPr/>
          <p:nvPr/>
        </p:nvGrpSpPr>
        <p:grpSpPr>
          <a:xfrm>
            <a:off x="376813" y="2767621"/>
            <a:ext cx="4355242" cy="636178"/>
            <a:chOff x="429760" y="2744924"/>
            <a:chExt cx="4815039" cy="710139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B8E0A7E7-BDFA-496B-A855-72608EF0C7D3}"/>
                </a:ext>
              </a:extLst>
            </p:cNvPr>
            <p:cNvSpPr/>
            <p:nvPr/>
          </p:nvSpPr>
          <p:spPr bwMode="auto">
            <a:xfrm>
              <a:off x="1107245" y="2744924"/>
              <a:ext cx="4137554" cy="70531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5888" marR="0" lvl="1" indent="-115888" algn="l" defTabSz="1584325" rtl="0" eaLnBrk="1" fontAlgn="base" latinLnBrk="0" hangingPunct="1">
                <a:lnSpc>
                  <a:spcPct val="104000"/>
                </a:lnSpc>
                <a:spcBef>
                  <a:spcPts val="200"/>
                </a:spcBef>
                <a:spcAft>
                  <a:spcPts val="20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Tx/>
                <a:buChar char="•"/>
                <a:tabLst>
                  <a:tab pos="5646021" algn="l"/>
                </a:tabLst>
                <a:defRPr/>
              </a:pPr>
              <a:r>
                <a:rPr kumimoji="1" lang="en-US" altLang="ko-KR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1</a:t>
              </a:r>
              <a:r>
                <a:rPr kumimoji="1" lang="ko-KR" altLang="en-US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일간 발생한 실 데이터  </a:t>
              </a:r>
              <a:endParaRPr kumimoji="1" lang="en-US" altLang="ko-KR" sz="1200" b="0" i="0" u="none" strike="noStrike" kern="1200" cap="none" spc="-5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endParaRPr>
            </a:p>
            <a:p>
              <a:pPr marL="115888" marR="0" lvl="1" indent="-115888" algn="l" defTabSz="1584325" rtl="0" eaLnBrk="1" fontAlgn="base" latinLnBrk="0" hangingPunct="1">
                <a:lnSpc>
                  <a:spcPct val="104000"/>
                </a:lnSpc>
                <a:spcBef>
                  <a:spcPts val="200"/>
                </a:spcBef>
                <a:spcAft>
                  <a:spcPts val="20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Tx/>
                <a:buChar char="•"/>
                <a:tabLst>
                  <a:tab pos="5646021" algn="l"/>
                </a:tabLst>
                <a:defRPr/>
              </a:pPr>
              <a:r>
                <a:rPr kumimoji="1" lang="ko-KR" altLang="en-US" sz="1200" u="sng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srgbClr val="0000FF"/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선정된 대상 화면에 해당하는 데이터 </a:t>
              </a:r>
              <a:endParaRPr kumimoji="1" lang="ko-KR" altLang="en-US" sz="1200" b="0" i="0" u="sng" strike="noStrike" kern="1200" cap="none" spc="-5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srgbClr val="0000FF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64" name="직사각형 163">
              <a:extLst>
                <a:ext uri="{FF2B5EF4-FFF2-40B4-BE49-F238E27FC236}">
                  <a16:creationId xmlns:a16="http://schemas.microsoft.com/office/drawing/2014/main" id="{A0C13C37-3059-4AA6-8FC8-79BFDA4B5B30}"/>
                </a:ext>
              </a:extLst>
            </p:cNvPr>
            <p:cNvSpPr/>
            <p:nvPr/>
          </p:nvSpPr>
          <p:spPr>
            <a:xfrm>
              <a:off x="429760" y="2749749"/>
              <a:ext cx="693483" cy="70531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b="0" i="0" u="none" strike="noStrike" kern="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현대하모니 M" panose="02020603020101020101" pitchFamily="18" charset="-127"/>
                  <a:ea typeface="현대하모니 M" panose="02020603020101020101" pitchFamily="18" charset="-127"/>
                  <a:cs typeface="+mn-cs"/>
                </a:rPr>
                <a:t>테스트 데이터 </a:t>
              </a:r>
            </a:p>
          </p:txBody>
        </p: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416ECF61-A8B7-459E-AED1-3EE4C57C636B}"/>
              </a:ext>
            </a:extLst>
          </p:cNvPr>
          <p:cNvGrpSpPr/>
          <p:nvPr/>
        </p:nvGrpSpPr>
        <p:grpSpPr>
          <a:xfrm>
            <a:off x="376813" y="2005058"/>
            <a:ext cx="4355242" cy="631858"/>
            <a:chOff x="429760" y="1988840"/>
            <a:chExt cx="4815039" cy="705316"/>
          </a:xfrm>
        </p:grpSpPr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05FF86DD-EEEC-42C3-8782-7410C1B302B0}"/>
                </a:ext>
              </a:extLst>
            </p:cNvPr>
            <p:cNvSpPr/>
            <p:nvPr/>
          </p:nvSpPr>
          <p:spPr bwMode="auto">
            <a:xfrm>
              <a:off x="1107245" y="1988840"/>
              <a:ext cx="4137554" cy="70531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5888" marR="0" lvl="1" indent="-115888" algn="l" defTabSz="1584325" rtl="0" eaLnBrk="1" fontAlgn="base" latinLnBrk="0" hangingPunct="1">
                <a:lnSpc>
                  <a:spcPct val="104000"/>
                </a:lnSpc>
                <a:spcBef>
                  <a:spcPts val="200"/>
                </a:spcBef>
                <a:spcAft>
                  <a:spcPts val="20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Tx/>
                <a:buChar char="•"/>
                <a:tabLst>
                  <a:tab pos="5646021" algn="l"/>
                </a:tabLst>
                <a:defRPr/>
              </a:pPr>
              <a:r>
                <a:rPr kumimoji="1" lang="ko-KR" altLang="en-US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실 업무시 발생하는 트랜잭션을 재현하여 검증</a:t>
              </a:r>
            </a:p>
            <a:p>
              <a:pPr marL="115888" marR="0" lvl="1" indent="-115888" algn="l" defTabSz="1584325" rtl="0" eaLnBrk="1" fontAlgn="base" latinLnBrk="0" hangingPunct="1">
                <a:lnSpc>
                  <a:spcPct val="104000"/>
                </a:lnSpc>
                <a:spcBef>
                  <a:spcPts val="200"/>
                </a:spcBef>
                <a:spcAft>
                  <a:spcPts val="20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Tx/>
                <a:buChar char="•"/>
                <a:tabLst>
                  <a:tab pos="5646021" algn="l"/>
                </a:tabLst>
                <a:defRPr/>
              </a:pPr>
              <a:r>
                <a:rPr kumimoji="1" lang="en-US" altLang="ko-KR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AS-IS</a:t>
              </a:r>
              <a:r>
                <a:rPr kumimoji="1" lang="ko-KR" altLang="en-US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와 </a:t>
              </a:r>
              <a:r>
                <a:rPr kumimoji="1" lang="en-US" altLang="ko-KR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TO-BE </a:t>
              </a:r>
              <a:r>
                <a:rPr kumimoji="1" lang="ko-KR" altLang="en-US" sz="1200" b="0" i="0" u="none" strike="noStrike" kern="1200" cap="none" spc="-5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시스템 결과 데이터를 비교하여 검증</a:t>
              </a:r>
            </a:p>
          </p:txBody>
        </p:sp>
        <p:sp>
          <p:nvSpPr>
            <p:cNvPr id="162" name="직사각형 161">
              <a:extLst>
                <a:ext uri="{FF2B5EF4-FFF2-40B4-BE49-F238E27FC236}">
                  <a16:creationId xmlns:a16="http://schemas.microsoft.com/office/drawing/2014/main" id="{8A26BD9C-BFC6-4376-8769-3275C5FDBEBC}"/>
                </a:ext>
              </a:extLst>
            </p:cNvPr>
            <p:cNvSpPr/>
            <p:nvPr/>
          </p:nvSpPr>
          <p:spPr>
            <a:xfrm>
              <a:off x="429760" y="1988842"/>
              <a:ext cx="693483" cy="70531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b="0" i="0" u="none" strike="noStrike" kern="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현대하모니 M" panose="02020603020101020101" pitchFamily="18" charset="-127"/>
                  <a:ea typeface="현대하모니 M" panose="02020603020101020101" pitchFamily="18" charset="-127"/>
                  <a:cs typeface="+mn-cs"/>
                </a:rPr>
                <a:t>테스트 방법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376813" y="3540968"/>
            <a:ext cx="4355242" cy="863854"/>
            <a:chOff x="376813" y="5065978"/>
            <a:chExt cx="4355242" cy="863854"/>
          </a:xfrm>
        </p:grpSpPr>
        <p:sp>
          <p:nvSpPr>
            <p:cNvPr id="172" name="직사각형 171">
              <a:extLst>
                <a:ext uri="{FF2B5EF4-FFF2-40B4-BE49-F238E27FC236}">
                  <a16:creationId xmlns:a16="http://schemas.microsoft.com/office/drawing/2014/main" id="{1D5F2029-11CD-4677-A591-78D031CC37F9}"/>
                </a:ext>
              </a:extLst>
            </p:cNvPr>
            <p:cNvSpPr/>
            <p:nvPr/>
          </p:nvSpPr>
          <p:spPr bwMode="auto">
            <a:xfrm>
              <a:off x="989604" y="5074059"/>
              <a:ext cx="3742451" cy="8557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marR="0" lvl="1" indent="-228600" algn="l" defTabSz="1584325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 typeface="+mj-lt"/>
                <a:buAutoNum type="arabicPeriod"/>
                <a:tabLst>
                  <a:tab pos="5646021" algn="l"/>
                </a:tabLst>
                <a:defRPr/>
              </a:pPr>
              <a:r>
                <a:rPr kumimoji="1" lang="en-US" altLang="ko-KR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AS-IS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와 </a:t>
              </a:r>
              <a:r>
                <a:rPr kumimoji="1" lang="en-US" altLang="ko-KR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TO-BE 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업무 </a:t>
              </a:r>
              <a:r>
                <a:rPr kumimoji="1" lang="ko-KR" altLang="en-US" sz="1200" b="0" i="0" u="none" strike="noStrike" kern="1200" cap="none" spc="-50" normalizeH="0" baseline="0" noProof="0" dirty="0" err="1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로직에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 차이가 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없어 </a:t>
              </a:r>
              <a:r>
                <a:rPr kumimoji="1" lang="en-US" altLang="ko-KR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1:1 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매핑이 가능</a:t>
              </a:r>
              <a:endParaRPr kumimoji="1" lang="en-US" altLang="ko-KR" sz="1200" spc="-5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endParaRPr>
            </a:p>
            <a:p>
              <a:pPr marL="228600" lvl="1" indent="-228600" defTabSz="1584325" fontAlgn="base" latinLnBrk="0">
                <a:spcBef>
                  <a:spcPts val="200"/>
                </a:spcBef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 typeface="+mj-lt"/>
                <a:buAutoNum type="arabicPeriod"/>
                <a:tabLst>
                  <a:tab pos="5646021" algn="l"/>
                </a:tabLst>
                <a:defRPr/>
              </a:pP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또는 </a:t>
              </a:r>
              <a:r>
                <a:rPr kumimoji="1" lang="ko-KR" altLang="en-US" sz="1200" spc="-50" dirty="0" err="1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로직은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 변경되었지만 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변경 </a:t>
              </a:r>
              <a:r>
                <a:rPr kumimoji="1" lang="ko-KR" altLang="en-US" sz="1200" b="0" i="0" u="none" strike="noStrike" kern="1200" cap="none" spc="-50" normalizeH="0" baseline="0" noProof="0" dirty="0" err="1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로직이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1" lang="en-US" altLang="ko-KR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A</a:t>
              </a:r>
              <a:r>
                <a:rPr kumimoji="1" lang="en-US" altLang="ko-KR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S-IS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와 </a:t>
              </a:r>
              <a:r>
                <a:rPr kumimoji="1" lang="en-US" altLang="ko-KR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TO-BE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간에 </a:t>
              </a:r>
              <a:r>
                <a:rPr kumimoji="1" lang="ko-KR" altLang="en-US" sz="1200" spc="-5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명확히 매핑이 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가능</a:t>
              </a:r>
              <a:r>
                <a:rPr kumimoji="1" lang="ko-KR" altLang="en-US" sz="1200" b="0" i="0" u="none" strike="noStrike" kern="1200" cap="none" spc="-50" normalizeH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 </a:t>
              </a:r>
              <a:endParaRPr kumimoji="1" lang="en-US" altLang="ko-KR" sz="1200" b="0" i="0" u="none" strike="noStrike" kern="1200" cap="none" spc="-5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8BD33506-92D6-4C82-9005-D3EA4E185BA4}"/>
                </a:ext>
              </a:extLst>
            </p:cNvPr>
            <p:cNvSpPr/>
            <p:nvPr/>
          </p:nvSpPr>
          <p:spPr>
            <a:xfrm>
              <a:off x="376813" y="5065978"/>
              <a:ext cx="627261" cy="86385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kern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전제</a:t>
              </a:r>
              <a:endParaRPr kumimoji="1" lang="en-US" altLang="ko-KR" sz="1300" kern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kern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조건</a:t>
              </a:r>
              <a:endParaRPr kumimoji="1" lang="ko-KR" altLang="en-US" sz="1300" b="0" i="0" u="none" strike="noStrike" kern="0" cap="none" spc="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endParaRPr>
            </a:p>
          </p:txBody>
        </p:sp>
      </p:grpSp>
      <p:sp>
        <p:nvSpPr>
          <p:cNvPr id="62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8423687" y="4284547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7A9934F7-88C0-4E52-82C3-0E816C34174F}"/>
              </a:ext>
            </a:extLst>
          </p:cNvPr>
          <p:cNvSpPr/>
          <p:nvPr/>
        </p:nvSpPr>
        <p:spPr bwMode="auto">
          <a:xfrm>
            <a:off x="8438711" y="4659375"/>
            <a:ext cx="608673" cy="526554"/>
          </a:xfrm>
          <a:prstGeom prst="rect">
            <a:avLst/>
          </a:prstGeom>
          <a:noFill/>
          <a:ln w="12700">
            <a:noFill/>
          </a:ln>
        </p:spPr>
        <p:txBody>
          <a:bodyPr wrap="square" lIns="36000" tIns="0" rIns="36000" bIns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</a:t>
            </a:r>
            <a:r>
              <a:rPr kumimoji="1" lang="ko-KR" altLang="en-US" sz="11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처리 결과</a:t>
            </a:r>
            <a:endParaRPr kumimoji="1" lang="en-US" altLang="ko-KR" sz="1100" dirty="0" smtClean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4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8423687" y="3404601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8" name="꺾인 연결선 7"/>
          <p:cNvCxnSpPr>
            <a:endCxn id="95" idx="2"/>
          </p:cNvCxnSpPr>
          <p:nvPr/>
        </p:nvCxnSpPr>
        <p:spPr>
          <a:xfrm rot="5400000" flipH="1" flipV="1">
            <a:off x="5778234" y="4383648"/>
            <a:ext cx="377258" cy="5236"/>
          </a:xfrm>
          <a:prstGeom prst="bentConnector3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/>
          <p:cNvCxnSpPr>
            <a:stCxn id="86" idx="3"/>
            <a:endCxn id="95" idx="0"/>
          </p:cNvCxnSpPr>
          <p:nvPr/>
        </p:nvCxnSpPr>
        <p:spPr>
          <a:xfrm>
            <a:off x="5964246" y="3375565"/>
            <a:ext cx="5235" cy="275772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16ECF61-A8B7-459E-AED1-3EE4C57C636B}"/>
              </a:ext>
            </a:extLst>
          </p:cNvPr>
          <p:cNvGrpSpPr/>
          <p:nvPr/>
        </p:nvGrpSpPr>
        <p:grpSpPr>
          <a:xfrm>
            <a:off x="376813" y="4919858"/>
            <a:ext cx="4355242" cy="631858"/>
            <a:chOff x="429760" y="1988840"/>
            <a:chExt cx="4815039" cy="705316"/>
          </a:xfrm>
        </p:grpSpPr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05FF86DD-EEEC-42C3-8782-7410C1B302B0}"/>
                </a:ext>
              </a:extLst>
            </p:cNvPr>
            <p:cNvSpPr/>
            <p:nvPr/>
          </p:nvSpPr>
          <p:spPr bwMode="auto">
            <a:xfrm>
              <a:off x="1107245" y="1988840"/>
              <a:ext cx="4137554" cy="70531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5888" marR="0" lvl="1" indent="-115888" algn="l" defTabSz="1584325" rtl="0" eaLnBrk="1" fontAlgn="base" latinLnBrk="0" hangingPunct="1">
                <a:lnSpc>
                  <a:spcPct val="104000"/>
                </a:lnSpc>
                <a:spcBef>
                  <a:spcPts val="200"/>
                </a:spcBef>
                <a:spcAft>
                  <a:spcPts val="200"/>
                </a:spcAft>
                <a:buClr>
                  <a:prstClr val="black">
                    <a:lumMod val="65000"/>
                    <a:lumOff val="35000"/>
                  </a:prstClr>
                </a:buClr>
                <a:buSzPct val="80000"/>
                <a:buFontTx/>
                <a:buChar char="•"/>
                <a:tabLst>
                  <a:tab pos="5646021" algn="l"/>
                </a:tabLst>
                <a:defRPr/>
              </a:pP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주요 입력</a:t>
              </a:r>
              <a:r>
                <a:rPr kumimoji="1" lang="en-US" altLang="ko-KR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(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트랜잭션</a:t>
              </a:r>
              <a:r>
                <a:rPr kumimoji="1" lang="en-US" altLang="ko-KR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)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화면</a:t>
              </a:r>
              <a:r>
                <a:rPr kumimoji="1" lang="ko-KR" altLang="en-US" sz="1200" b="0" i="0" u="none" strike="noStrike" kern="1200" cap="none" spc="-50" normalizeH="0" baseline="0" noProof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에 대해 </a:t>
              </a:r>
              <a:r>
                <a:rPr kumimoji="1" lang="en-US" altLang="ko-KR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To-Be</a:t>
              </a:r>
              <a:r>
                <a:rPr kumimoji="1" lang="ko-KR" altLang="en-US" sz="1200" spc="-5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현대하모니 L" panose="02020603020101020101" pitchFamily="18" charset="-127"/>
                  <a:ea typeface="현대하모니 L" panose="02020603020101020101" pitchFamily="18" charset="-127"/>
                  <a:cs typeface="Arial" panose="020B0604020202020204" pitchFamily="34" charset="0"/>
                </a:rPr>
                <a:t>에 논리 누락없이 잘 반영되었는지 확인</a:t>
              </a:r>
              <a:endParaRPr kumimoji="1" lang="ko-KR" altLang="en-US" sz="1200" b="0" i="0" u="none" strike="noStrike" kern="1200" cap="none" spc="-5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8A26BD9C-BFC6-4376-8769-3275C5FDBEBC}"/>
                </a:ext>
              </a:extLst>
            </p:cNvPr>
            <p:cNvSpPr/>
            <p:nvPr/>
          </p:nvSpPr>
          <p:spPr>
            <a:xfrm>
              <a:off x="429760" y="1988842"/>
              <a:ext cx="693483" cy="705314"/>
            </a:xfrm>
            <a:prstGeom prst="rect">
              <a:avLst/>
            </a:prstGeom>
            <a:solidFill>
              <a:srgbClr val="92D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b="0" i="0" u="none" strike="noStrike" kern="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현대하모니 M" panose="02020603020101020101" pitchFamily="18" charset="-127"/>
                  <a:ea typeface="현대하모니 M" panose="02020603020101020101" pitchFamily="18" charset="-127"/>
                  <a:cs typeface="+mn-cs"/>
                </a:rPr>
                <a:t>테스트 </a:t>
              </a:r>
              <a:r>
                <a:rPr kumimoji="1" lang="ko-KR" altLang="en-US" sz="1300" kern="0" dirty="0" smtClean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gradFill>
                    <a:gsLst>
                      <a:gs pos="100000">
                        <a:prstClr val="white"/>
                      </a:gs>
                      <a:gs pos="0">
                        <a:prstClr val="white"/>
                      </a:gs>
                    </a:gsLst>
                    <a:lin ang="0" scaled="1"/>
                  </a:gra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목표</a:t>
              </a:r>
              <a:endParaRPr kumimoji="1" lang="ko-KR" altLang="en-US" sz="1300" b="0" i="0" u="none" strike="noStrike" kern="0" cap="none" spc="0" normalizeH="0" baseline="0" noProof="0" dirty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endParaRPr>
            </a:p>
          </p:txBody>
        </p:sp>
      </p:grpSp>
      <p:sp>
        <p:nvSpPr>
          <p:cNvPr id="2" name="아래쪽 화살표 1"/>
          <p:cNvSpPr/>
          <p:nvPr/>
        </p:nvSpPr>
        <p:spPr>
          <a:xfrm>
            <a:off x="2110154" y="4522898"/>
            <a:ext cx="1239715" cy="263277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6709635" y="4591196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2C53DC28-6656-4512-9A8D-30633A604DB3}"/>
              </a:ext>
            </a:extLst>
          </p:cNvPr>
          <p:cNvSpPr/>
          <p:nvPr/>
        </p:nvSpPr>
        <p:spPr bwMode="auto">
          <a:xfrm>
            <a:off x="6877598" y="4666618"/>
            <a:ext cx="72447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latinLnBrk="0" hangingPunct="0">
              <a:spcBef>
                <a:spcPts val="1000"/>
              </a:spcBef>
              <a:spcAft>
                <a:spcPct val="0"/>
              </a:spcAft>
              <a:defRPr/>
            </a:pPr>
            <a:r>
              <a:rPr kumimoji="1" lang="en-US" altLang="ko-KR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D-0 </a:t>
            </a:r>
            <a:r>
              <a:rPr kumimoji="1" lang="ko-KR" altLang="en-US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이행 데이터</a:t>
            </a:r>
            <a:endParaRPr kumimoji="1" lang="ko-KR" altLang="en-US" sz="11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A23D10C2-3B72-46B9-9E6E-D59A712EE406}"/>
              </a:ext>
            </a:extLst>
          </p:cNvPr>
          <p:cNvCxnSpPr>
            <a:stCxn id="84" idx="4"/>
            <a:endCxn id="70" idx="2"/>
          </p:cNvCxnSpPr>
          <p:nvPr/>
        </p:nvCxnSpPr>
        <p:spPr>
          <a:xfrm>
            <a:off x="6504470" y="4862243"/>
            <a:ext cx="205165" cy="973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3F11EDF8-9799-4BB1-BF91-F59CD3BEB575}"/>
              </a:ext>
            </a:extLst>
          </p:cNvPr>
          <p:cNvSpPr/>
          <p:nvPr/>
        </p:nvSpPr>
        <p:spPr>
          <a:xfrm>
            <a:off x="6403584" y="4324212"/>
            <a:ext cx="9829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① </a:t>
            </a: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데이터 이행</a:t>
            </a:r>
            <a:endParaRPr kumimoji="1" lang="ko-KR" altLang="en-US" sz="12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02" name="직선 화살표 연결선 101">
            <a:extLst>
              <a:ext uri="{FF2B5EF4-FFF2-40B4-BE49-F238E27FC236}">
                <a16:creationId xmlns:a16="http://schemas.microsoft.com/office/drawing/2014/main" id="{8576DD8A-FFD6-4974-B0E6-CCEAC72CA1B5}"/>
              </a:ext>
            </a:extLst>
          </p:cNvPr>
          <p:cNvCxnSpPr>
            <a:stCxn id="137" idx="2"/>
            <a:endCxn id="138" idx="0"/>
          </p:cNvCxnSpPr>
          <p:nvPr/>
        </p:nvCxnSpPr>
        <p:spPr>
          <a:xfrm flipH="1">
            <a:off x="7545491" y="5863016"/>
            <a:ext cx="6557" cy="20650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왼쪽/오른쪽 화살표 39"/>
          <p:cNvSpPr/>
          <p:nvPr/>
        </p:nvSpPr>
        <p:spPr>
          <a:xfrm>
            <a:off x="7844425" y="4786175"/>
            <a:ext cx="306931" cy="199063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531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565146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솔루션 도입 여부를 판단하였고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“</a:t>
            </a:r>
            <a:r>
              <a:rPr kumimoji="1" lang="ko-KR" altLang="en-US" sz="1600" spc="-40" dirty="0" err="1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미도입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”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결정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,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판단 결과에 따라 ①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후보 화면 도출 및 수행 방안 논의 → ②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“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시스템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”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구축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→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③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수행 으로 이어지는 추진 일정을 마련하였습니다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</a:t>
            </a:r>
            <a:endParaRPr kumimoji="1" lang="ko-KR" altLang="en-US" sz="1600" b="0" i="0" u="none" strike="noStrike" kern="1200" cap="none" spc="-40" normalizeH="0" baseline="0" noProof="0" dirty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I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추진 일정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104048B1-702A-46C4-8998-9C2F4C6CEA35}"/>
              </a:ext>
            </a:extLst>
          </p:cNvPr>
          <p:cNvSpPr/>
          <p:nvPr/>
        </p:nvSpPr>
        <p:spPr bwMode="auto">
          <a:xfrm>
            <a:off x="205618" y="1536609"/>
            <a:ext cx="9473369" cy="33532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A36A58AE-2A5A-4597-951D-F9C35D51C426}"/>
              </a:ext>
            </a:extLst>
          </p:cNvPr>
          <p:cNvSpPr/>
          <p:nvPr/>
        </p:nvSpPr>
        <p:spPr bwMode="auto">
          <a:xfrm>
            <a:off x="205618" y="1881189"/>
            <a:ext cx="9473369" cy="19364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127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859EB27B-146F-4EF6-9A42-F673EF2655C5}"/>
              </a:ext>
            </a:extLst>
          </p:cNvPr>
          <p:cNvSpPr/>
          <p:nvPr/>
        </p:nvSpPr>
        <p:spPr>
          <a:xfrm>
            <a:off x="2819065" y="1595103"/>
            <a:ext cx="4086775" cy="21833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kumimoji="1" lang="ko-KR" altLang="en-US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진 일정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385506" y="2403642"/>
            <a:ext cx="9113602" cy="296233"/>
            <a:chOff x="509796" y="2066291"/>
            <a:chExt cx="6468054" cy="296233"/>
          </a:xfrm>
        </p:grpSpPr>
        <p:grpSp>
          <p:nvGrpSpPr>
            <p:cNvPr id="2" name="그룹 1"/>
            <p:cNvGrpSpPr/>
            <p:nvPr/>
          </p:nvGrpSpPr>
          <p:grpSpPr>
            <a:xfrm>
              <a:off x="509796" y="2066291"/>
              <a:ext cx="1708956" cy="296233"/>
              <a:chOff x="509796" y="2066291"/>
              <a:chExt cx="1708956" cy="296233"/>
            </a:xfrm>
          </p:grpSpPr>
          <p:sp>
            <p:nvSpPr>
              <p:cNvPr id="91" name="오각형 173">
                <a:extLst>
                  <a:ext uri="{FF2B5EF4-FFF2-40B4-BE49-F238E27FC236}">
                    <a16:creationId xmlns:a16="http://schemas.microsoft.com/office/drawing/2014/main" id="{2BBA1334-4FD4-43CD-AE65-6A2C7C4BC056}"/>
                  </a:ext>
                </a:extLst>
              </p:cNvPr>
              <p:cNvSpPr/>
              <p:nvPr/>
            </p:nvSpPr>
            <p:spPr>
              <a:xfrm>
                <a:off x="509796" y="2066291"/>
                <a:ext cx="1708956" cy="296233"/>
              </a:xfrm>
              <a:prstGeom prst="homePlate">
                <a:avLst/>
              </a:prstGeom>
              <a:solidFill>
                <a:schemeClr val="accent1">
                  <a:lumMod val="90000"/>
                </a:schemeClr>
              </a:solidFill>
              <a:ln w="19050" cap="flat" cmpd="sng" algn="ctr">
                <a:solidFill>
                  <a:srgbClr val="F0F0F0"/>
                </a:solidFill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현대하모니 M"/>
                  <a:ea typeface="현대하모니 M"/>
                  <a:cs typeface="+mn-cs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2502809C-ED0D-4FF0-B8D0-6A4D32277DE3}"/>
                  </a:ext>
                </a:extLst>
              </p:cNvPr>
              <p:cNvSpPr txBox="1"/>
              <p:nvPr/>
            </p:nvSpPr>
            <p:spPr>
              <a:xfrm>
                <a:off x="806656" y="2084750"/>
                <a:ext cx="1139357" cy="25931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현대하모니 M" panose="02020603020101020101" pitchFamily="18" charset="-127"/>
                    <a:ea typeface="현대하모니 M" panose="02020603020101020101" pitchFamily="18" charset="-127"/>
                    <a:cs typeface="+mn-cs"/>
                  </a:rPr>
                  <a:t>설계</a:t>
                </a:r>
                <a:r>
                  <a:rPr kumimoji="1" lang="en-US" altLang="ko-KR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현대하모니 M" panose="02020603020101020101" pitchFamily="18" charset="-127"/>
                    <a:ea typeface="현대하모니 M" panose="02020603020101020101" pitchFamily="18" charset="-127"/>
                    <a:cs typeface="+mn-cs"/>
                  </a:rPr>
                  <a:t> </a:t>
                </a:r>
                <a:r>
                  <a:rPr kumimoji="1" lang="ko-KR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현대하모니 M" panose="02020603020101020101" pitchFamily="18" charset="-127"/>
                    <a:ea typeface="현대하모니 M" panose="02020603020101020101" pitchFamily="18" charset="-127"/>
                    <a:cs typeface="+mn-cs"/>
                  </a:rPr>
                  <a:t>단계</a:t>
                </a:r>
              </a:p>
            </p:txBody>
          </p:sp>
        </p:grpSp>
        <p:grpSp>
          <p:nvGrpSpPr>
            <p:cNvPr id="3" name="그룹 2"/>
            <p:cNvGrpSpPr/>
            <p:nvPr/>
          </p:nvGrpSpPr>
          <p:grpSpPr>
            <a:xfrm>
              <a:off x="2112141" y="2066293"/>
              <a:ext cx="2735067" cy="296231"/>
              <a:chOff x="2094385" y="2066293"/>
              <a:chExt cx="6444778" cy="296231"/>
            </a:xfrm>
          </p:grpSpPr>
          <p:sp>
            <p:nvSpPr>
              <p:cNvPr id="93" name="갈매기형 수장 185">
                <a:extLst>
                  <a:ext uri="{FF2B5EF4-FFF2-40B4-BE49-F238E27FC236}">
                    <a16:creationId xmlns:a16="http://schemas.microsoft.com/office/drawing/2014/main" id="{2507D522-AE34-4E34-98E6-9CF3CAEECCFD}"/>
                  </a:ext>
                </a:extLst>
              </p:cNvPr>
              <p:cNvSpPr/>
              <p:nvPr/>
            </p:nvSpPr>
            <p:spPr>
              <a:xfrm>
                <a:off x="2094385" y="2066293"/>
                <a:ext cx="6444778" cy="296231"/>
              </a:xfrm>
              <a:prstGeom prst="chevron">
                <a:avLst/>
              </a:prstGeom>
              <a:solidFill>
                <a:schemeClr val="accent1">
                  <a:lumMod val="75000"/>
                </a:schemeClr>
              </a:solidFill>
              <a:ln w="19050" cap="flat" cmpd="sng" algn="ctr">
                <a:solidFill>
                  <a:srgbClr val="F0F0F0"/>
                </a:solidFill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현대하모니 M"/>
                  <a:ea typeface="현대하모니 M"/>
                  <a:cs typeface="+mn-cs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D2FD79AA-BDAA-4234-8ABD-83F8E8168222}"/>
                  </a:ext>
                </a:extLst>
              </p:cNvPr>
              <p:cNvSpPr txBox="1"/>
              <p:nvPr/>
            </p:nvSpPr>
            <p:spPr>
              <a:xfrm>
                <a:off x="5048910" y="2134806"/>
                <a:ext cx="637234" cy="159204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lvl="0" algn="ctr" eaLnBrk="0" fontAlgn="base" latinLnBrk="0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ko-KR" altLang="en-US" sz="11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rPr>
                  <a:t>구현</a:t>
                </a:r>
                <a:r>
                  <a:rPr kumimoji="1" lang="en-US" altLang="ko-KR" sz="11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rPr>
                  <a:t> </a:t>
                </a:r>
                <a:r>
                  <a:rPr kumimoji="1" lang="ko-KR" altLang="en-US" sz="11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rPr>
                  <a:t>단계</a:t>
                </a:r>
              </a:p>
            </p:txBody>
          </p:sp>
        </p:grpSp>
        <p:grpSp>
          <p:nvGrpSpPr>
            <p:cNvPr id="97" name="그룹 96"/>
            <p:cNvGrpSpPr/>
            <p:nvPr/>
          </p:nvGrpSpPr>
          <p:grpSpPr>
            <a:xfrm>
              <a:off x="4740763" y="2066293"/>
              <a:ext cx="2237087" cy="296231"/>
              <a:chOff x="2094385" y="2066293"/>
              <a:chExt cx="6444778" cy="296231"/>
            </a:xfrm>
          </p:grpSpPr>
          <p:sp>
            <p:nvSpPr>
              <p:cNvPr id="98" name="갈매기형 수장 185">
                <a:extLst>
                  <a:ext uri="{FF2B5EF4-FFF2-40B4-BE49-F238E27FC236}">
                    <a16:creationId xmlns:a16="http://schemas.microsoft.com/office/drawing/2014/main" id="{2507D522-AE34-4E34-98E6-9CF3CAEECCFD}"/>
                  </a:ext>
                </a:extLst>
              </p:cNvPr>
              <p:cNvSpPr/>
              <p:nvPr/>
            </p:nvSpPr>
            <p:spPr>
              <a:xfrm>
                <a:off x="2094385" y="2066293"/>
                <a:ext cx="6444778" cy="296231"/>
              </a:xfrm>
              <a:prstGeom prst="chevron">
                <a:avLst/>
              </a:prstGeom>
              <a:solidFill>
                <a:schemeClr val="accent1">
                  <a:lumMod val="50000"/>
                </a:schemeClr>
              </a:solidFill>
              <a:ln w="19050" cap="flat" cmpd="sng" algn="ctr">
                <a:solidFill>
                  <a:srgbClr val="F0F0F0"/>
                </a:solidFill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현대하모니 M"/>
                  <a:ea typeface="현대하모니 M"/>
                  <a:cs typeface="+mn-cs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D2FD79AA-BDAA-4234-8ABD-83F8E8168222}"/>
                  </a:ext>
                </a:extLst>
              </p:cNvPr>
              <p:cNvSpPr txBox="1"/>
              <p:nvPr/>
            </p:nvSpPr>
            <p:spPr>
              <a:xfrm>
                <a:off x="5048910" y="2134806"/>
                <a:ext cx="637234" cy="159204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현대하모니 M"/>
                    <a:ea typeface="현대하모니 M"/>
                    <a:cs typeface="+mn-cs"/>
                  </a:rPr>
                  <a:t>테스트 단계</a:t>
                </a: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E76420C9-9CD0-45F7-B7AD-8A62016B3589}"/>
              </a:ext>
            </a:extLst>
          </p:cNvPr>
          <p:cNvSpPr txBox="1"/>
          <p:nvPr/>
        </p:nvSpPr>
        <p:spPr>
          <a:xfrm>
            <a:off x="313250" y="2051240"/>
            <a:ext cx="6745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578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-40" normalizeH="0" baseline="0" noProof="0" dirty="0" smtClean="0">
                <a:ln>
                  <a:solidFill>
                    <a:srgbClr val="A5A5A5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2022.09</a:t>
            </a:r>
            <a:endParaRPr kumimoji="1" lang="en-US" altLang="ko-KR" sz="1100" b="0" i="0" u="none" strike="noStrike" kern="1200" cap="none" spc="-40" normalizeH="0" baseline="0" noProof="0" dirty="0">
              <a:ln>
                <a:solidFill>
                  <a:srgbClr val="A5A5A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758961D2-08D9-4F07-8A63-C9AC29C7A5E4}"/>
              </a:ext>
            </a:extLst>
          </p:cNvPr>
          <p:cNvSpPr txBox="1"/>
          <p:nvPr/>
        </p:nvSpPr>
        <p:spPr>
          <a:xfrm>
            <a:off x="7845034" y="2051240"/>
            <a:ext cx="6745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578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-40" normalizeH="0" baseline="0" noProof="0" dirty="0" smtClean="0">
                <a:ln>
                  <a:solidFill>
                    <a:srgbClr val="A5A5A5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2024.01</a:t>
            </a:r>
            <a:endParaRPr kumimoji="1" lang="en-US" altLang="ko-KR" sz="1100" b="0" i="0" u="none" strike="noStrike" kern="1200" cap="none" spc="-40" normalizeH="0" baseline="0" noProof="0" dirty="0">
              <a:ln>
                <a:solidFill>
                  <a:srgbClr val="A5A5A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758961D2-08D9-4F07-8A63-C9AC29C7A5E4}"/>
              </a:ext>
            </a:extLst>
          </p:cNvPr>
          <p:cNvSpPr txBox="1"/>
          <p:nvPr/>
        </p:nvSpPr>
        <p:spPr>
          <a:xfrm>
            <a:off x="8900845" y="2051240"/>
            <a:ext cx="6745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578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-40" normalizeH="0" baseline="0" noProof="0" dirty="0" smtClean="0">
                <a:ln>
                  <a:solidFill>
                    <a:srgbClr val="A5A5A5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2024.03</a:t>
            </a:r>
            <a:endParaRPr kumimoji="1" lang="en-US" altLang="ko-KR" sz="1100" b="0" i="0" u="none" strike="noStrike" kern="1200" cap="none" spc="-40" normalizeH="0" baseline="0" noProof="0" dirty="0">
              <a:ln>
                <a:solidFill>
                  <a:srgbClr val="A5A5A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cxnSp>
        <p:nvCxnSpPr>
          <p:cNvPr id="179" name="직선 연결선 178">
            <a:extLst>
              <a:ext uri="{FF2B5EF4-FFF2-40B4-BE49-F238E27FC236}">
                <a16:creationId xmlns:a16="http://schemas.microsoft.com/office/drawing/2014/main" id="{ECF0ACA1-5F7C-4D03-99BC-3C9E204AA28C}"/>
              </a:ext>
            </a:extLst>
          </p:cNvPr>
          <p:cNvCxnSpPr/>
          <p:nvPr/>
        </p:nvCxnSpPr>
        <p:spPr>
          <a:xfrm>
            <a:off x="415925" y="2328300"/>
            <a:ext cx="9072000" cy="0"/>
          </a:xfrm>
          <a:prstGeom prst="line">
            <a:avLst/>
          </a:prstGeom>
          <a:ln w="22225" cmpd="sng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타원 179">
            <a:extLst>
              <a:ext uri="{FF2B5EF4-FFF2-40B4-BE49-F238E27FC236}">
                <a16:creationId xmlns:a16="http://schemas.microsoft.com/office/drawing/2014/main" id="{59DF2988-1C6D-4100-B3E1-2DBC065355AC}"/>
              </a:ext>
            </a:extLst>
          </p:cNvPr>
          <p:cNvSpPr/>
          <p:nvPr/>
        </p:nvSpPr>
        <p:spPr>
          <a:xfrm>
            <a:off x="350688" y="2271416"/>
            <a:ext cx="109610" cy="113768"/>
          </a:xfrm>
          <a:prstGeom prst="ellipse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dist="50800" dir="2700000" sx="88000" sy="88000" algn="tl" rotWithShape="0">
              <a:schemeClr val="tx1"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0" tIns="45590" rIns="91180" bIns="45590" anchor="ctr"/>
          <a:lstStyle/>
          <a:p>
            <a:pPr marL="0" marR="0" lvl="0" indent="0" algn="ctr" defTabSz="81713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53" b="0" i="0" u="none" strike="noStrike" kern="1200" cap="none" spc="0" normalizeH="0" baseline="0" noProof="0">
              <a:ln w="1270">
                <a:solidFill>
                  <a:srgbClr val="A5A5A5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181" name="타원 180">
            <a:extLst>
              <a:ext uri="{FF2B5EF4-FFF2-40B4-BE49-F238E27FC236}">
                <a16:creationId xmlns:a16="http://schemas.microsoft.com/office/drawing/2014/main" id="{CB6498B2-49D9-4CC5-A763-E04A87BD9990}"/>
              </a:ext>
            </a:extLst>
          </p:cNvPr>
          <p:cNvSpPr/>
          <p:nvPr/>
        </p:nvSpPr>
        <p:spPr>
          <a:xfrm>
            <a:off x="2588016" y="2271416"/>
            <a:ext cx="109610" cy="113768"/>
          </a:xfrm>
          <a:prstGeom prst="ellipse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dist="50800" dir="2700000" sx="88000" sy="88000" algn="tl" rotWithShape="0">
              <a:schemeClr val="tx1"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0" tIns="45590" rIns="91180" bIns="45590" anchor="ctr"/>
          <a:lstStyle/>
          <a:p>
            <a:pPr marL="0" marR="0" lvl="0" indent="0" algn="ctr" defTabSz="81713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53" b="0" i="0" u="none" strike="noStrike" kern="1200" cap="none" spc="0" normalizeH="0" baseline="0" noProof="0">
              <a:ln w="1270">
                <a:solidFill>
                  <a:srgbClr val="A5A5A5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182" name="타원 181">
            <a:extLst>
              <a:ext uri="{FF2B5EF4-FFF2-40B4-BE49-F238E27FC236}">
                <a16:creationId xmlns:a16="http://schemas.microsoft.com/office/drawing/2014/main" id="{439D5657-E0ED-4E84-9DCC-00E975220C64}"/>
              </a:ext>
            </a:extLst>
          </p:cNvPr>
          <p:cNvSpPr/>
          <p:nvPr/>
        </p:nvSpPr>
        <p:spPr>
          <a:xfrm>
            <a:off x="6260919" y="2271416"/>
            <a:ext cx="109610" cy="113768"/>
          </a:xfrm>
          <a:prstGeom prst="ellipse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dist="50800" dir="2700000" sx="88000" sy="88000" algn="tl" rotWithShape="0">
              <a:schemeClr val="tx1"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0" tIns="45590" rIns="91180" bIns="45590" anchor="ctr"/>
          <a:lstStyle/>
          <a:p>
            <a:pPr marL="0" marR="0" lvl="0" indent="0" algn="ctr" defTabSz="81713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53" b="0" i="0" u="none" strike="noStrike" kern="1200" cap="none" spc="0" normalizeH="0" baseline="0" noProof="0">
              <a:ln w="1270">
                <a:solidFill>
                  <a:srgbClr val="A5A5A5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183" name="타원 182">
            <a:extLst>
              <a:ext uri="{FF2B5EF4-FFF2-40B4-BE49-F238E27FC236}">
                <a16:creationId xmlns:a16="http://schemas.microsoft.com/office/drawing/2014/main" id="{1DDBEF2C-5A21-4B83-BE1C-5DDCD293C4A1}"/>
              </a:ext>
            </a:extLst>
          </p:cNvPr>
          <p:cNvSpPr/>
          <p:nvPr/>
        </p:nvSpPr>
        <p:spPr>
          <a:xfrm>
            <a:off x="8129245" y="2271416"/>
            <a:ext cx="109610" cy="113768"/>
          </a:xfrm>
          <a:prstGeom prst="ellipse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dist="50800" dir="2700000" sx="88000" sy="88000" algn="tl" rotWithShape="0">
              <a:schemeClr val="tx1"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0" tIns="45590" rIns="91180" bIns="45590" anchor="ctr"/>
          <a:lstStyle/>
          <a:p>
            <a:pPr marL="0" marR="0" lvl="0" indent="0" algn="ctr" defTabSz="81713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53" b="0" i="0" u="none" strike="noStrike" kern="1200" cap="none" spc="0" normalizeH="0" baseline="0" noProof="0">
              <a:ln w="1270">
                <a:solidFill>
                  <a:srgbClr val="A5A5A5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E76420C9-9CD0-45F7-B7AD-8A62016B3589}"/>
              </a:ext>
            </a:extLst>
          </p:cNvPr>
          <p:cNvSpPr txBox="1"/>
          <p:nvPr/>
        </p:nvSpPr>
        <p:spPr>
          <a:xfrm>
            <a:off x="2341061" y="2051240"/>
            <a:ext cx="6745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578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-40" normalizeH="0" baseline="0" noProof="0" dirty="0" smtClean="0">
                <a:ln>
                  <a:solidFill>
                    <a:srgbClr val="A5A5A5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2023.01</a:t>
            </a:r>
            <a:endParaRPr kumimoji="1" lang="en-US" altLang="ko-KR" sz="1100" b="0" i="0" u="none" strike="noStrike" kern="1200" cap="none" spc="-40" normalizeH="0" baseline="0" noProof="0" dirty="0">
              <a:ln>
                <a:solidFill>
                  <a:srgbClr val="A5A5A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8CD9EA8A-4E24-446B-9FAE-CE214E474F4B}"/>
              </a:ext>
            </a:extLst>
          </p:cNvPr>
          <p:cNvSpPr txBox="1"/>
          <p:nvPr/>
        </p:nvSpPr>
        <p:spPr>
          <a:xfrm>
            <a:off x="5983144" y="2051240"/>
            <a:ext cx="6745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578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-40" normalizeH="0" baseline="0" noProof="0" dirty="0" smtClean="0">
                <a:ln>
                  <a:solidFill>
                    <a:srgbClr val="A5A5A5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2023.08</a:t>
            </a:r>
            <a:endParaRPr kumimoji="1" lang="en-US" altLang="ko-KR" sz="1100" b="0" i="0" u="none" strike="noStrike" kern="1200" cap="none" spc="-40" normalizeH="0" baseline="0" noProof="0" dirty="0">
              <a:ln>
                <a:solidFill>
                  <a:srgbClr val="A5A5A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88" name="모서리가 둥근 직사각형 68">
            <a:extLst>
              <a:ext uri="{FF2B5EF4-FFF2-40B4-BE49-F238E27FC236}">
                <a16:creationId xmlns:a16="http://schemas.microsoft.com/office/drawing/2014/main" id="{6E1EA866-0207-4088-9CE7-6994CAA28EFC}"/>
              </a:ext>
            </a:extLst>
          </p:cNvPr>
          <p:cNvSpPr/>
          <p:nvPr/>
        </p:nvSpPr>
        <p:spPr>
          <a:xfrm>
            <a:off x="6260919" y="2738236"/>
            <a:ext cx="704368" cy="238363"/>
          </a:xfrm>
          <a:prstGeom prst="roundRect">
            <a:avLst/>
          </a:prstGeom>
          <a:solidFill>
            <a:srgbClr val="00448D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 1</a:t>
            </a:r>
            <a:r>
              <a:rPr kumimoji="1" lang="ko-KR" altLang="en-US" sz="1400" b="0" i="0" u="none" strike="noStrike" kern="1200" cap="none" spc="-100" normalizeH="0" baseline="0" noProof="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차</a:t>
            </a:r>
          </a:p>
        </p:txBody>
      </p:sp>
      <p:sp>
        <p:nvSpPr>
          <p:cNvPr id="189" name="모서리가 둥근 직사각형 69">
            <a:extLst>
              <a:ext uri="{FF2B5EF4-FFF2-40B4-BE49-F238E27FC236}">
                <a16:creationId xmlns:a16="http://schemas.microsoft.com/office/drawing/2014/main" id="{627BB9F7-BC28-479A-8709-DC1858173B31}"/>
              </a:ext>
            </a:extLst>
          </p:cNvPr>
          <p:cNvSpPr/>
          <p:nvPr/>
        </p:nvSpPr>
        <p:spPr>
          <a:xfrm>
            <a:off x="7658650" y="2738236"/>
            <a:ext cx="704368" cy="238363"/>
          </a:xfrm>
          <a:prstGeom prst="roundRect">
            <a:avLst/>
          </a:prstGeom>
          <a:solidFill>
            <a:srgbClr val="00448D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 2</a:t>
            </a:r>
            <a:r>
              <a:rPr kumimoji="1" lang="ko-KR" altLang="en-US" sz="1400" b="0" i="0" u="none" strike="noStrike" kern="1200" cap="none" spc="-100" normalizeH="0" baseline="0" noProof="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차</a:t>
            </a: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04508706-DEE6-4D10-81AE-DC624D5C776C}"/>
              </a:ext>
            </a:extLst>
          </p:cNvPr>
          <p:cNvSpPr/>
          <p:nvPr/>
        </p:nvSpPr>
        <p:spPr>
          <a:xfrm>
            <a:off x="6179069" y="2960533"/>
            <a:ext cx="1304245" cy="53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marR="0" lvl="1" indent="-115888" algn="l" defTabSz="1584325" rtl="0" eaLnBrk="1" fontAlgn="base" latinLnBrk="0" hangingPunct="1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80000"/>
              <a:buFontTx/>
              <a:buChar char="•"/>
              <a:tabLst>
                <a:tab pos="5646021" algn="l"/>
              </a:tabLst>
              <a:defRPr/>
            </a:pPr>
            <a:r>
              <a:rPr kumimoji="1" lang="en-US" altLang="ko-KR" sz="1100" spc="-5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MDT </a:t>
            </a:r>
            <a:r>
              <a:rPr kumimoji="1" lang="ko-KR" altLang="en-US" sz="1100" spc="-5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시스템에 대한 기술적 검증</a:t>
            </a:r>
            <a:endParaRPr kumimoji="1" lang="en-US" altLang="ko-KR" sz="1100" b="0" i="0" u="none" strike="noStrike" kern="1200" cap="none" spc="-50" normalizeH="0" baseline="0" noProof="0" dirty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91" name="직사각형 190">
            <a:extLst>
              <a:ext uri="{FF2B5EF4-FFF2-40B4-BE49-F238E27FC236}">
                <a16:creationId xmlns:a16="http://schemas.microsoft.com/office/drawing/2014/main" id="{8E5F6E2F-2564-4691-AF7C-36A047ADA36C}"/>
              </a:ext>
            </a:extLst>
          </p:cNvPr>
          <p:cNvSpPr/>
          <p:nvPr/>
        </p:nvSpPr>
        <p:spPr>
          <a:xfrm>
            <a:off x="7658650" y="2983992"/>
            <a:ext cx="1660484" cy="53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marR="0" lvl="1" indent="-115888" algn="l" defTabSz="1584325" rtl="0" eaLnBrk="1" fontAlgn="base" latinLnBrk="0" hangingPunct="1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80000"/>
              <a:buFontTx/>
              <a:buChar char="•"/>
              <a:tabLst>
                <a:tab pos="5646021" algn="l"/>
              </a:tabLst>
              <a:defRPr/>
            </a:pPr>
            <a:r>
              <a:rPr kumimoji="1" lang="ko-KR" altLang="en-US" sz="1100" b="0" i="0" u="none" strike="noStrike" kern="1200" cap="none" spc="-15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주요 단위 기능에  대해  일간 발생한 </a:t>
            </a:r>
            <a:r>
              <a:rPr kumimoji="1" lang="ko-KR" altLang="en-US" sz="1100" b="0" i="0" u="none" strike="noStrike" kern="1200" cap="none" spc="-150" normalizeH="0" baseline="0" noProof="0" dirty="0" err="1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실데이터</a:t>
            </a:r>
            <a:r>
              <a:rPr kumimoji="1" lang="ko-KR" altLang="en-US" sz="1100" b="0" i="0" u="none" strike="noStrike" kern="1200" cap="none" spc="-15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 검증</a:t>
            </a:r>
            <a:endParaRPr kumimoji="1" lang="ko-KR" altLang="en-US" sz="1100" b="0" i="0" u="none" strike="noStrike" kern="1200" cap="none" spc="-150" normalizeH="0" baseline="0" noProof="0" dirty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92" name="모서리가 둥근 직사각형 68">
            <a:extLst>
              <a:ext uri="{FF2B5EF4-FFF2-40B4-BE49-F238E27FC236}">
                <a16:creationId xmlns:a16="http://schemas.microsoft.com/office/drawing/2014/main" id="{6E1EA866-0207-4088-9CE7-6994CAA28EFC}"/>
              </a:ext>
            </a:extLst>
          </p:cNvPr>
          <p:cNvSpPr/>
          <p:nvPr/>
        </p:nvSpPr>
        <p:spPr>
          <a:xfrm>
            <a:off x="1722336" y="2738236"/>
            <a:ext cx="515455" cy="602218"/>
          </a:xfrm>
          <a:prstGeom prst="roundRect">
            <a:avLst/>
          </a:prstGeom>
          <a:solidFill>
            <a:srgbClr val="CEDEFE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기술 검증</a:t>
            </a:r>
            <a:r>
              <a:rPr kumimoji="1" lang="en-US" altLang="ko-KR" sz="12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1</a:t>
            </a:r>
            <a:r>
              <a:rPr kumimoji="1" lang="ko-KR" altLang="en-US" sz="12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단계</a:t>
            </a:r>
            <a:endParaRPr kumimoji="1" lang="ko-KR" altLang="en-US" sz="1200" b="0" i="0" u="none" strike="noStrike" kern="1200" cap="none" spc="-100" normalizeH="0" baseline="0" noProof="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95" name="모서리가 둥근 직사각형 68">
            <a:extLst>
              <a:ext uri="{FF2B5EF4-FFF2-40B4-BE49-F238E27FC236}">
                <a16:creationId xmlns:a16="http://schemas.microsoft.com/office/drawing/2014/main" id="{6E1EA866-0207-4088-9CE7-6994CAA28EFC}"/>
              </a:ext>
            </a:extLst>
          </p:cNvPr>
          <p:cNvSpPr/>
          <p:nvPr/>
        </p:nvSpPr>
        <p:spPr>
          <a:xfrm>
            <a:off x="3184523" y="2738236"/>
            <a:ext cx="507828" cy="602218"/>
          </a:xfrm>
          <a:prstGeom prst="roundRect">
            <a:avLst/>
          </a:prstGeom>
          <a:solidFill>
            <a:srgbClr val="CEDEFE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기술 검증</a:t>
            </a:r>
            <a:r>
              <a:rPr kumimoji="1" lang="en-US" altLang="ko-KR" sz="12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2</a:t>
            </a:r>
            <a:r>
              <a:rPr kumimoji="1" lang="ko-KR" altLang="en-US" sz="1200" b="0" i="0" u="none" strike="noStrike" kern="1200" cap="none" spc="-100" normalizeH="0" baseline="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단계</a:t>
            </a:r>
            <a:endParaRPr kumimoji="1" lang="ko-KR" altLang="en-US" sz="1200" b="0" i="0" u="none" strike="noStrike" kern="1200" cap="none" spc="-100" normalizeH="0" baseline="0" noProof="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02" name="모서리가 둥근 직사각형 68">
            <a:extLst>
              <a:ext uri="{FF2B5EF4-FFF2-40B4-BE49-F238E27FC236}">
                <a16:creationId xmlns:a16="http://schemas.microsoft.com/office/drawing/2014/main" id="{6E1EA866-0207-4088-9CE7-6994CAA28EFC}"/>
              </a:ext>
            </a:extLst>
          </p:cNvPr>
          <p:cNvSpPr/>
          <p:nvPr/>
        </p:nvSpPr>
        <p:spPr>
          <a:xfrm>
            <a:off x="5060286" y="2738236"/>
            <a:ext cx="953161" cy="577212"/>
          </a:xfrm>
          <a:prstGeom prst="roundRect">
            <a:avLst/>
          </a:prstGeom>
          <a:solidFill>
            <a:srgbClr val="CEDEFE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spc="-10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시스템 </a:t>
            </a:r>
            <a:endParaRPr kumimoji="1" lang="en-US" altLang="ko-KR" sz="1200" spc="-100" noProof="0" dirty="0" smtClean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구축</a:t>
            </a:r>
            <a:endParaRPr kumimoji="1" lang="ko-KR" altLang="en-US" sz="1200" b="0" i="0" u="none" strike="noStrike" kern="1200" cap="none" spc="-100" normalizeH="0" baseline="0" noProof="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278432"/>
              </p:ext>
            </p:extLst>
          </p:nvPr>
        </p:nvGraphicFramePr>
        <p:xfrm>
          <a:off x="222886" y="4101738"/>
          <a:ext cx="9427144" cy="2386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1481">
                  <a:extLst>
                    <a:ext uri="{9D8B030D-6E8A-4147-A177-3AD203B41FA5}">
                      <a16:colId xmlns:a16="http://schemas.microsoft.com/office/drawing/2014/main" val="589782664"/>
                    </a:ext>
                  </a:extLst>
                </a:gridCol>
                <a:gridCol w="1831580">
                  <a:extLst>
                    <a:ext uri="{9D8B030D-6E8A-4147-A177-3AD203B41FA5}">
                      <a16:colId xmlns:a16="http://schemas.microsoft.com/office/drawing/2014/main" val="1819875205"/>
                    </a:ext>
                  </a:extLst>
                </a:gridCol>
                <a:gridCol w="1923691">
                  <a:extLst>
                    <a:ext uri="{9D8B030D-6E8A-4147-A177-3AD203B41FA5}">
                      <a16:colId xmlns:a16="http://schemas.microsoft.com/office/drawing/2014/main" val="1051838519"/>
                    </a:ext>
                  </a:extLst>
                </a:gridCol>
                <a:gridCol w="1518249">
                  <a:extLst>
                    <a:ext uri="{9D8B030D-6E8A-4147-A177-3AD203B41FA5}">
                      <a16:colId xmlns:a16="http://schemas.microsoft.com/office/drawing/2014/main" val="884946772"/>
                    </a:ext>
                  </a:extLst>
                </a:gridCol>
                <a:gridCol w="1682151">
                  <a:extLst>
                    <a:ext uri="{9D8B030D-6E8A-4147-A177-3AD203B41FA5}">
                      <a16:colId xmlns:a16="http://schemas.microsoft.com/office/drawing/2014/main" val="4236502014"/>
                    </a:ext>
                  </a:extLst>
                </a:gridCol>
                <a:gridCol w="1799992">
                  <a:extLst>
                    <a:ext uri="{9D8B030D-6E8A-4147-A177-3AD203B41FA5}">
                      <a16:colId xmlns:a16="http://schemas.microsoft.com/office/drawing/2014/main" val="3891120407"/>
                    </a:ext>
                  </a:extLst>
                </a:gridCol>
              </a:tblGrid>
              <a:tr h="316614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솔루션 도입 검토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시험 대상</a:t>
                      </a:r>
                      <a:r>
                        <a:rPr lang="ko-KR" altLang="en-US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선정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스템 구축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</a:t>
                      </a:r>
                      <a:r>
                        <a:rPr lang="en-US" altLang="ko-KR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행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328693"/>
                  </a:ext>
                </a:extLst>
              </a:tr>
              <a:tr h="31661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트랜잭션 데이터  추출 검증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트랜잭션  자동화 검증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1200" spc="-150" dirty="0" err="1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화면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도출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트랜잭션 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o-Be</a:t>
                      </a:r>
                      <a:r>
                        <a:rPr lang="ko-KR" altLang="en-US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재현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결과 검증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477906"/>
                  </a:ext>
                </a:extLst>
              </a:tr>
              <a:tr h="7548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주요활동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일간 발생한 트랜잭션 데이터 추출 및 분석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ID, Input, Output)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방법 검증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차세대시스템 트랜잭션 실행 솔루션 적용 검토</a:t>
                      </a:r>
                      <a:endParaRPr kumimoji="1" lang="en-US" altLang="ko-KR" sz="1200" b="0" i="0" u="none" strike="noStrike" kern="1200" cap="none" spc="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 자동화 검증</a:t>
                      </a:r>
                      <a:endParaRPr kumimoji="1" lang="en-US" altLang="ko-KR" sz="1200" b="0" i="0" u="none" strike="noStrike" kern="1200" cap="none" spc="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MD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 해당하는 주요 화면 도출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대상 후보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스마트 일 트랜잭션 데이터를 기반으로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To-Be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 데이터를 생성하여 재현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마감 데이터와 트랜잭션 처리 결과를 비교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방안 검증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150833"/>
                  </a:ext>
                </a:extLst>
              </a:tr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기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설계 단계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’22.1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 초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구현 단계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’23.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구현 단계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’23.3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구현 단계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’23.6~’23.8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구현 단계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’23.9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, ’23.1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141806"/>
                  </a:ext>
                </a:extLst>
              </a:tr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요기간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4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4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차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, 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차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107905"/>
                  </a:ext>
                </a:extLst>
              </a:tr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결과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솔루션 </a:t>
                      </a:r>
                      <a:r>
                        <a:rPr kumimoji="1" lang="ko-KR" altLang="en-US" sz="1200" b="1" i="0" u="none" strike="noStrike" kern="1200" cap="none" spc="-150" normalizeH="0" baseline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미도입으로</a:t>
                      </a:r>
                      <a:r>
                        <a:rPr kumimoji="1" lang="ko-KR" altLang="en-US" sz="1200" b="1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결정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도입의 효용성이 부족함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5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 대상 후보 화면 도출 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112827"/>
                  </a:ext>
                </a:extLst>
              </a:tr>
            </a:tbl>
          </a:graphicData>
        </a:graphic>
      </p:graphicFrame>
      <p:sp>
        <p:nvSpPr>
          <p:cNvPr id="41" name="모서리가 둥근 직사각형 68">
            <a:extLst>
              <a:ext uri="{FF2B5EF4-FFF2-40B4-BE49-F238E27FC236}">
                <a16:creationId xmlns:a16="http://schemas.microsoft.com/office/drawing/2014/main" id="{6E1EA866-0207-4088-9CE7-6994CAA28EFC}"/>
              </a:ext>
            </a:extLst>
          </p:cNvPr>
          <p:cNvSpPr/>
          <p:nvPr/>
        </p:nvSpPr>
        <p:spPr>
          <a:xfrm>
            <a:off x="3778105" y="2738236"/>
            <a:ext cx="514007" cy="602218"/>
          </a:xfrm>
          <a:prstGeom prst="roundRect">
            <a:avLst/>
          </a:prstGeom>
          <a:solidFill>
            <a:srgbClr val="CEDEFE"/>
          </a:solidFill>
          <a:ln>
            <a:solidFill>
              <a:srgbClr val="00448D"/>
            </a:solidFill>
          </a:ln>
        </p:spPr>
        <p:txBody>
          <a:bodyPr wrap="square" lIns="36000" tIns="0" rIns="36000" bIns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spc="-10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</a:t>
            </a:r>
            <a:r>
              <a:rPr kumimoji="1" lang="ko-KR" altLang="en-US" sz="1200" spc="-100" noProof="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대상 도출</a:t>
            </a:r>
            <a:endParaRPr kumimoji="1" lang="ko-KR" altLang="en-US" sz="1200" b="0" i="0" u="none" strike="noStrike" kern="1200" cap="none" spc="-100" normalizeH="0" baseline="0" noProof="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20" name="직선 화살표 연결선 19"/>
          <p:cNvCxnSpPr>
            <a:stCxn id="202" idx="2"/>
          </p:cNvCxnSpPr>
          <p:nvPr/>
        </p:nvCxnSpPr>
        <p:spPr>
          <a:xfrm>
            <a:off x="5536867" y="3315448"/>
            <a:ext cx="1428420" cy="7612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화살표 연결선 21"/>
          <p:cNvCxnSpPr>
            <a:stCxn id="41" idx="2"/>
          </p:cNvCxnSpPr>
          <p:nvPr/>
        </p:nvCxnSpPr>
        <p:spPr>
          <a:xfrm>
            <a:off x="4035109" y="3340454"/>
            <a:ext cx="1468300" cy="7362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화살표 연결선 23"/>
          <p:cNvCxnSpPr>
            <a:stCxn id="195" idx="2"/>
          </p:cNvCxnSpPr>
          <p:nvPr/>
        </p:nvCxnSpPr>
        <p:spPr>
          <a:xfrm>
            <a:off x="3438437" y="3340454"/>
            <a:ext cx="202698" cy="7362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화살표 연결선 25"/>
          <p:cNvCxnSpPr/>
          <p:nvPr/>
        </p:nvCxnSpPr>
        <p:spPr>
          <a:xfrm flipH="1">
            <a:off x="1722336" y="3340454"/>
            <a:ext cx="257727" cy="7362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/>
          <p:cNvSpPr/>
          <p:nvPr/>
        </p:nvSpPr>
        <p:spPr>
          <a:xfrm>
            <a:off x="6159260" y="4101738"/>
            <a:ext cx="1685774" cy="2386590"/>
          </a:xfrm>
          <a:prstGeom prst="rect">
            <a:avLst/>
          </a:prstGeom>
          <a:noFill/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6" name="직선 화살표 연결선 35"/>
          <p:cNvCxnSpPr/>
          <p:nvPr/>
        </p:nvCxnSpPr>
        <p:spPr>
          <a:xfrm>
            <a:off x="8798943" y="3516445"/>
            <a:ext cx="34506" cy="5602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/>
          <p:cNvCxnSpPr/>
          <p:nvPr/>
        </p:nvCxnSpPr>
        <p:spPr>
          <a:xfrm>
            <a:off x="7151298" y="3541451"/>
            <a:ext cx="1492370" cy="49634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635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1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차는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수행에 대한 기술 검증을 수행하고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MDT 2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차에서는 주요 업무 검증을 수행합니다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</a:t>
            </a: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II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수행 방안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407770"/>
              </p:ext>
            </p:extLst>
          </p:nvPr>
        </p:nvGraphicFramePr>
        <p:xfrm>
          <a:off x="222886" y="1453660"/>
          <a:ext cx="9386941" cy="49471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88661">
                  <a:extLst>
                    <a:ext uri="{9D8B030D-6E8A-4147-A177-3AD203B41FA5}">
                      <a16:colId xmlns:a16="http://schemas.microsoft.com/office/drawing/2014/main" val="589782664"/>
                    </a:ext>
                  </a:extLst>
                </a:gridCol>
                <a:gridCol w="3899140">
                  <a:extLst>
                    <a:ext uri="{9D8B030D-6E8A-4147-A177-3AD203B41FA5}">
                      <a16:colId xmlns:a16="http://schemas.microsoft.com/office/drawing/2014/main" val="3891120407"/>
                    </a:ext>
                  </a:extLst>
                </a:gridCol>
                <a:gridCol w="3899140">
                  <a:extLst>
                    <a:ext uri="{9D8B030D-6E8A-4147-A177-3AD203B41FA5}">
                      <a16:colId xmlns:a16="http://schemas.microsoft.com/office/drawing/2014/main" val="389235340"/>
                    </a:ext>
                  </a:extLst>
                </a:gridCol>
              </a:tblGrid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1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차 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200" spc="-150" dirty="0" smtClean="0">
                          <a:solidFill>
                            <a:srgbClr val="0000FF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술 검증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2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차 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200" spc="-150" dirty="0" smtClean="0">
                          <a:solidFill>
                            <a:srgbClr val="0000FF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 검증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328693"/>
                  </a:ext>
                </a:extLst>
              </a:tr>
              <a:tr h="2828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목적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MDT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관련 아키텍처와 기술을 검증하여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MD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를 제대로 수행할 수 있는지 확인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요 업무에 대한 트랜잭션을 검증하여 해당 주요 화면들이 업무 </a:t>
                      </a:r>
                      <a:r>
                        <a:rPr kumimoji="1" lang="ko-KR" altLang="en-US" sz="1200" b="0" i="0" u="none" strike="noStrike" kern="1200" cap="none" spc="0" normalizeH="0" baseline="0" noProof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로직에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맞게 데이터를 적절하게 처리하고 있는지 확인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150833"/>
                  </a:ext>
                </a:extLst>
              </a:tr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err="1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행시기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’23.9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‘23.1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월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-150" normalizeH="0" baseline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통테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차 이후 실시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141806"/>
                  </a:ext>
                </a:extLst>
              </a:tr>
              <a:tr h="3166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요기간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주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107905"/>
                  </a:ext>
                </a:extLst>
              </a:tr>
              <a:tr h="35595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err="1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행내역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스키마 </a:t>
                      </a:r>
                      <a:r>
                        <a:rPr kumimoji="1" lang="en-US" altLang="ko-KR" sz="1200" b="0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</a:t>
                      </a:r>
                      <a:r>
                        <a:rPr kumimoji="1" lang="ko-KR" altLang="en-US" sz="1200" b="0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벌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준비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원천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AS-IS DB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-1 DB, D-0 DB</a:t>
                      </a: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대상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TO-BE DB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-1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이행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, D-1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이행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 (</a:t>
                      </a:r>
                      <a:r>
                        <a:rPr kumimoji="1" lang="ko-KR" altLang="en-US" sz="1200" b="0" i="0" u="none" strike="noStrike" kern="1200" cap="none" spc="-150" normalizeH="0" baseline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백업본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, D-0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이행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</a:t>
                      </a: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TO-BE  MDT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수행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: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똑같이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-1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이행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로 시작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8572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</a:t>
                      </a: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대상 프로그램 중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를 선별하여 테스트 수행 실시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270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MDT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시스템이 정상적으로 기동하는 지 확인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시스템이 기능적으로 정상 작동하는지 확인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각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 제대로 접속하여 검증 결과를 제대로 산출하는지 확인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각 트랜잭션의 발생 간격은 적절한지 확인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8572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(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현실과 똑같은 간격으로 업무 시간 내내 돌릴 수는 없고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8572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현재로는 처리시간을 감안하여 </a:t>
                      </a:r>
                      <a:r>
                        <a:rPr kumimoji="1" lang="en-US" altLang="ko-KR" sz="1200" b="1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0</a:t>
                      </a:r>
                      <a:r>
                        <a:rPr kumimoji="1" lang="ko-KR" altLang="en-US" sz="1200" b="1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초 간격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으로 시험해볼 예정임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. </a:t>
                      </a:r>
                    </a:p>
                    <a:p>
                      <a:pPr marL="8572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수행 결과를 보고 발생 간격 조정 예정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차 때와 마찬가지로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DB 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스키마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벌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준비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전체 대상 프로그램으로 테스트 수행 실시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1555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동시 다발적으로 수행하지 않고 순차적으로 한 개씩 수행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검증 결과 확인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2413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결과에  이상이 있는 경우 점검 및 프로그램 보완 후 </a:t>
                      </a:r>
                      <a:r>
                        <a:rPr kumimoji="1" lang="ko-KR" altLang="en-US" sz="1200" b="0" i="0" u="none" strike="noStrike" kern="1200" cap="none" spc="-150" normalizeH="0" baseline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재테스트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수행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검증 결과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AS-IS.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와 </a:t>
                      </a:r>
                      <a:r>
                        <a:rPr kumimoji="1" lang="en-US" altLang="ko-KR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TO-BE</a:t>
                      </a:r>
                      <a:r>
                        <a:rPr kumimoji="1" lang="ko-KR" altLang="en-US" sz="1200" b="0" i="0" u="none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사이 에  차이 발생 시 프로그램  보완 실시 </a:t>
                      </a:r>
                      <a:endParaRPr kumimoji="1" lang="en-US" altLang="ko-KR" sz="1200" b="0" i="0" u="none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184150" marR="0" lvl="0" indent="-984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1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결과의 차이가 없어질 때까지 </a:t>
                      </a:r>
                      <a:r>
                        <a:rPr kumimoji="1" lang="en-US" altLang="ko-KR" sz="1200" b="1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MDT </a:t>
                      </a:r>
                      <a:r>
                        <a:rPr kumimoji="1" lang="ko-KR" altLang="en-US" sz="1200" b="1" i="0" u="sng" strike="noStrike" kern="1200" cap="none" spc="-150" normalizeH="0" baseline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반복 수행</a:t>
                      </a:r>
                      <a:endParaRPr kumimoji="1" lang="en-US" altLang="ko-KR" sz="1200" b="1" i="0" u="sng" strike="noStrike" kern="1200" cap="none" spc="-150" normalizeH="0" baseline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1128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25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시스템 구축은 다음과 같은 순서로 진행될 예정입니다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</a:t>
            </a:r>
            <a:endParaRPr kumimoji="1" lang="ko-KR" altLang="en-US" sz="1600" b="0" i="0" u="none" strike="noStrike" kern="1200" cap="none" spc="-40" normalizeH="0" baseline="0" noProof="0" dirty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절차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104048B1-702A-46C4-8998-9C2F4C6CEA35}"/>
              </a:ext>
            </a:extLst>
          </p:cNvPr>
          <p:cNvSpPr/>
          <p:nvPr/>
        </p:nvSpPr>
        <p:spPr bwMode="auto">
          <a:xfrm>
            <a:off x="205618" y="1536609"/>
            <a:ext cx="9473369" cy="33532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모서리가 둥근 직사각형 4"/>
          <p:cNvSpPr/>
          <p:nvPr/>
        </p:nvSpPr>
        <p:spPr>
          <a:xfrm>
            <a:off x="1095555" y="1630392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1. MDT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화면 도출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및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1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차 대상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1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개 화면 선정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“UFO0030U</a:t>
            </a:r>
            <a:r>
              <a:rPr lang="en-US" altLang="ko-KR" sz="16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_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판매증표저장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”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임의 선정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1095555" y="2265211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2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MDT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테이블 도출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화면에 해당하는 테이블 확인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To-Be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기준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9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개 테이블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095555" y="2900030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3. AS-IS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테이블에 대한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AS-IS D-1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 및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D-0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 준비 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1095555" y="4201434"/>
            <a:ext cx="8583432" cy="408527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5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</a:t>
            </a:r>
            <a:r>
              <a:rPr lang="ko-KR" altLang="en-US" sz="1600" dirty="0" err="1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도출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TO-BE D-1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과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D-0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를 비교하여 당일 트랜잭션 데이터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lang="ko-KR" altLang="en-US" sz="1600" b="1" u="sng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화면 입력 값</a:t>
            </a:r>
            <a:r>
              <a:rPr lang="en-US" altLang="ko-KR" sz="1600" b="1" u="sng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lang="ko-KR" altLang="en-US" sz="1600" b="1" u="sng" dirty="0" err="1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도출 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1095555" y="3540506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4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TO-BE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AS-IS D-1, D-0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에 대한 이행 실시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TO-BE D-1, D-1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백업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D-0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1095555" y="5439306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7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MDT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전체 대상 화면 시험 준비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화면 전체에 대한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준비 및 데이터 준비 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7" name="직선 화살표 연결선 6"/>
          <p:cNvCxnSpPr>
            <a:stCxn id="5" idx="2"/>
            <a:endCxn id="44" idx="0"/>
          </p:cNvCxnSpPr>
          <p:nvPr/>
        </p:nvCxnSpPr>
        <p:spPr>
          <a:xfrm>
            <a:off x="5387271" y="2038919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>
            <a:stCxn id="44" idx="2"/>
            <a:endCxn id="45" idx="0"/>
          </p:cNvCxnSpPr>
          <p:nvPr/>
        </p:nvCxnSpPr>
        <p:spPr>
          <a:xfrm>
            <a:off x="5387271" y="2673738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화살표 연결선 51"/>
          <p:cNvCxnSpPr>
            <a:stCxn id="47" idx="2"/>
            <a:endCxn id="46" idx="0"/>
          </p:cNvCxnSpPr>
          <p:nvPr/>
        </p:nvCxnSpPr>
        <p:spPr>
          <a:xfrm>
            <a:off x="5387271" y="3949033"/>
            <a:ext cx="0" cy="2524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52"/>
          <p:cNvCxnSpPr>
            <a:stCxn id="45" idx="2"/>
            <a:endCxn id="47" idx="0"/>
          </p:cNvCxnSpPr>
          <p:nvPr/>
        </p:nvCxnSpPr>
        <p:spPr>
          <a:xfrm>
            <a:off x="5387271" y="3308557"/>
            <a:ext cx="0" cy="2319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화살표 연결선 53"/>
          <p:cNvCxnSpPr>
            <a:stCxn id="46" idx="2"/>
            <a:endCxn id="29" idx="0"/>
          </p:cNvCxnSpPr>
          <p:nvPr/>
        </p:nvCxnSpPr>
        <p:spPr>
          <a:xfrm>
            <a:off x="5387271" y="4609961"/>
            <a:ext cx="0" cy="1945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모서리가 둥근 직사각형 63"/>
          <p:cNvSpPr/>
          <p:nvPr/>
        </p:nvSpPr>
        <p:spPr>
          <a:xfrm>
            <a:off x="1095555" y="6074126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8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2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차 테스트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도출된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및 데이터를 기반으로 전체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대상 화면 테스트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65" name="직선 화살표 연결선 64"/>
          <p:cNvCxnSpPr>
            <a:stCxn id="48" idx="2"/>
            <a:endCxn id="64" idx="0"/>
          </p:cNvCxnSpPr>
          <p:nvPr/>
        </p:nvCxnSpPr>
        <p:spPr>
          <a:xfrm>
            <a:off x="5387271" y="5847833"/>
            <a:ext cx="0" cy="2262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그룹 24"/>
          <p:cNvGrpSpPr/>
          <p:nvPr/>
        </p:nvGrpSpPr>
        <p:grpSpPr>
          <a:xfrm>
            <a:off x="200025" y="1630392"/>
            <a:ext cx="800639" cy="3064271"/>
            <a:chOff x="200025" y="1630392"/>
            <a:chExt cx="515967" cy="3623927"/>
          </a:xfrm>
        </p:grpSpPr>
        <p:sp>
          <p:nvSpPr>
            <p:cNvPr id="23" name="직사각형 22"/>
            <p:cNvSpPr/>
            <p:nvPr/>
          </p:nvSpPr>
          <p:spPr>
            <a:xfrm>
              <a:off x="200025" y="1630392"/>
              <a:ext cx="515967" cy="240513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데이터</a:t>
              </a:r>
              <a:endPara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/>
              <a:r>
                <a:rPr lang="ko-KR" altLang="en-US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준비</a:t>
              </a:r>
              <a:endPara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/>
              <a:r>
                <a:rPr lang="en-US" altLang="ko-KR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(6</a:t>
              </a:r>
              <a:r>
                <a:rPr lang="ko-KR" altLang="en-US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월</a:t>
              </a:r>
              <a:r>
                <a:rPr lang="en-US" altLang="ko-KR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)</a:t>
              </a:r>
              <a:endParaRPr lang="ko-KR" altLang="en-US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200025" y="4187327"/>
              <a:ext cx="515967" cy="1066992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개발</a:t>
              </a:r>
              <a:endPara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/>
              <a:r>
                <a:rPr lang="en-US" altLang="ko-KR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(7,8</a:t>
              </a:r>
              <a:r>
                <a:rPr lang="ko-KR" altLang="en-US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월</a:t>
              </a:r>
              <a:r>
                <a:rPr lang="en-US" altLang="ko-KR" sz="1400" dirty="0" smtClean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)</a:t>
              </a:r>
              <a:endParaRPr lang="ko-KR" altLang="en-US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</p:grpSp>
      <p:sp>
        <p:nvSpPr>
          <p:cNvPr id="27" name="포인트가 5개인 별 26"/>
          <p:cNvSpPr/>
          <p:nvPr/>
        </p:nvSpPr>
        <p:spPr>
          <a:xfrm>
            <a:off x="1108713" y="4035531"/>
            <a:ext cx="267419" cy="249059"/>
          </a:xfrm>
          <a:prstGeom prst="star5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1173743" y="3925717"/>
            <a:ext cx="3403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제일 손이 많이 가고 어려운 작업이 될 것으로 예상됨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1095555" y="4804487"/>
            <a:ext cx="8583432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6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1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차 테스트 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기술 검증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TO-BE D-0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와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TO-BE MDT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비교 결과를 통해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기술 검증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30" name="직선 화살표 연결선 29"/>
          <p:cNvCxnSpPr>
            <a:stCxn id="29" idx="2"/>
            <a:endCxn id="48" idx="0"/>
          </p:cNvCxnSpPr>
          <p:nvPr/>
        </p:nvCxnSpPr>
        <p:spPr>
          <a:xfrm>
            <a:off x="5387271" y="5213014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/>
          <p:cNvSpPr/>
          <p:nvPr/>
        </p:nvSpPr>
        <p:spPr>
          <a:xfrm>
            <a:off x="200025" y="4810062"/>
            <a:ext cx="800639" cy="50488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54000" rIns="54000" rtlCol="0" anchor="ctr"/>
          <a:lstStyle/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기술검증</a:t>
            </a:r>
            <a:endParaRPr lang="en-US" altLang="ko-KR" sz="1400" dirty="0" smtClean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9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월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4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200024" y="5439306"/>
            <a:ext cx="800639" cy="104334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</a:t>
            </a:r>
          </a:p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10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월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~12</a:t>
            </a:r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월</a:t>
            </a:r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0772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직선 연결선 56"/>
          <p:cNvCxnSpPr/>
          <p:nvPr/>
        </p:nvCxnSpPr>
        <p:spPr>
          <a:xfrm>
            <a:off x="6446630" y="3953269"/>
            <a:ext cx="0" cy="231187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" name="모서리가 둥근 직사각형 1"/>
          <p:cNvSpPr/>
          <p:nvPr/>
        </p:nvSpPr>
        <p:spPr>
          <a:xfrm>
            <a:off x="4940908" y="1338780"/>
            <a:ext cx="1475117" cy="548207"/>
          </a:xfrm>
          <a:prstGeom prst="roundRect">
            <a:avLst/>
          </a:prstGeom>
          <a:gradFill flip="none" rotWithShape="1">
            <a:gsLst>
              <a:gs pos="0">
                <a:srgbClr val="0000FF">
                  <a:tint val="66000"/>
                  <a:satMod val="160000"/>
                </a:srgbClr>
              </a:gs>
              <a:gs pos="50000">
                <a:srgbClr val="0000FF">
                  <a:tint val="44500"/>
                  <a:satMod val="160000"/>
                </a:srgbClr>
              </a:gs>
              <a:gs pos="100000">
                <a:srgbClr val="0000FF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MDT </a:t>
            </a: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스템</a:t>
            </a:r>
            <a:endParaRPr lang="ko-KR" altLang="en-US" dirty="0">
              <a:solidFill>
                <a:schemeClr val="tx1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모서리가 둥근 직사각형 3"/>
          <p:cNvSpPr/>
          <p:nvPr/>
        </p:nvSpPr>
        <p:spPr>
          <a:xfrm>
            <a:off x="7107560" y="896289"/>
            <a:ext cx="1889185" cy="634471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SMART</a:t>
            </a:r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</a:p>
          <a:p>
            <a:pPr algn="ctr"/>
            <a:r>
              <a:rPr lang="ko-KR" altLang="en-US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계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모서리가 둥근 직사각형 4"/>
          <p:cNvSpPr/>
          <p:nvPr/>
        </p:nvSpPr>
        <p:spPr>
          <a:xfrm>
            <a:off x="7107559" y="3049008"/>
            <a:ext cx="1889185" cy="634471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nPLUS</a:t>
            </a:r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</a:p>
          <a:p>
            <a:pPr algn="ctr"/>
            <a:r>
              <a:rPr lang="ko-KR" altLang="en-US" dirty="0" err="1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계</a:t>
            </a:r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2018"/>
              </p:ext>
            </p:extLst>
          </p:nvPr>
        </p:nvGraphicFramePr>
        <p:xfrm>
          <a:off x="232574" y="982902"/>
          <a:ext cx="4218621" cy="5549930"/>
        </p:xfrm>
        <a:graphic>
          <a:graphicData uri="http://schemas.openxmlformats.org/drawingml/2006/table">
            <a:tbl>
              <a:tblPr/>
              <a:tblGrid>
                <a:gridCol w="236864">
                  <a:extLst>
                    <a:ext uri="{9D8B030D-6E8A-4147-A177-3AD203B41FA5}">
                      <a16:colId xmlns:a16="http://schemas.microsoft.com/office/drawing/2014/main" val="2892394947"/>
                    </a:ext>
                  </a:extLst>
                </a:gridCol>
                <a:gridCol w="436890">
                  <a:extLst>
                    <a:ext uri="{9D8B030D-6E8A-4147-A177-3AD203B41FA5}">
                      <a16:colId xmlns:a16="http://schemas.microsoft.com/office/drawing/2014/main" val="3834186376"/>
                    </a:ext>
                  </a:extLst>
                </a:gridCol>
                <a:gridCol w="481340">
                  <a:extLst>
                    <a:ext uri="{9D8B030D-6E8A-4147-A177-3AD203B41FA5}">
                      <a16:colId xmlns:a16="http://schemas.microsoft.com/office/drawing/2014/main" val="177915209"/>
                    </a:ext>
                  </a:extLst>
                </a:gridCol>
                <a:gridCol w="822325">
                  <a:extLst>
                    <a:ext uri="{9D8B030D-6E8A-4147-A177-3AD203B41FA5}">
                      <a16:colId xmlns:a16="http://schemas.microsoft.com/office/drawing/2014/main" val="1240937084"/>
                    </a:ext>
                  </a:extLst>
                </a:gridCol>
                <a:gridCol w="665163">
                  <a:extLst>
                    <a:ext uri="{9D8B030D-6E8A-4147-A177-3AD203B41FA5}">
                      <a16:colId xmlns:a16="http://schemas.microsoft.com/office/drawing/2014/main" val="1009710370"/>
                    </a:ext>
                  </a:extLst>
                </a:gridCol>
                <a:gridCol w="1576039">
                  <a:extLst>
                    <a:ext uri="{9D8B030D-6E8A-4147-A177-3AD203B41FA5}">
                      <a16:colId xmlns:a16="http://schemas.microsoft.com/office/drawing/2014/main" val="920400945"/>
                    </a:ext>
                  </a:extLst>
                </a:gridCol>
              </a:tblGrid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순번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그룹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스템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D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명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93380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6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3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/S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22689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2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/S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액업체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예약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09247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W019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도매 조치 증표 현황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6999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U040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 및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취소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85395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00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관 요청 입력 내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275041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04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MI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품목별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주계수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관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72582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05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AO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품목별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주계수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관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861407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00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관요청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입력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내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085413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940U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체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PMI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재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30962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530U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발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정보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DATE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86806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19318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9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/MZ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138484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0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Q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66091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10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OFF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589006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0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우선순위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49982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6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요청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91474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O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52590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-G-E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타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49074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3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GENE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919138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4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MMAR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231455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케쥴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77392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지시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682505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9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Batch INVOC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96906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2034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해외영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6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오더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68857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주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80666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PLU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I101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ocal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내수물류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6706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I121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반 이관 입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656135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F425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도매판매발송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18857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???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 화면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 요청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226495"/>
                  </a:ext>
                </a:extLst>
              </a:tr>
            </a:tbl>
          </a:graphicData>
        </a:graphic>
      </p:graphicFrame>
      <p:sp>
        <p:nvSpPr>
          <p:cNvPr id="3" name="위쪽 화살표 2"/>
          <p:cNvSpPr/>
          <p:nvPr/>
        </p:nvSpPr>
        <p:spPr>
          <a:xfrm rot="5400000">
            <a:off x="4404241" y="2222483"/>
            <a:ext cx="740581" cy="250166"/>
          </a:xfrm>
          <a:prstGeom prst="up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" name="꺾인 연결선 9"/>
          <p:cNvCxnSpPr>
            <a:stCxn id="2" idx="3"/>
          </p:cNvCxnSpPr>
          <p:nvPr/>
        </p:nvCxnSpPr>
        <p:spPr>
          <a:xfrm flipV="1">
            <a:off x="6416025" y="1213526"/>
            <a:ext cx="691535" cy="39935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꺾인 연결선 11"/>
          <p:cNvCxnSpPr>
            <a:stCxn id="2" idx="3"/>
            <a:endCxn id="5" idx="1"/>
          </p:cNvCxnSpPr>
          <p:nvPr/>
        </p:nvCxnSpPr>
        <p:spPr>
          <a:xfrm>
            <a:off x="6416025" y="1612884"/>
            <a:ext cx="691534" cy="175336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755345" y="169389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**.do</a:t>
            </a:r>
            <a:endParaRPr lang="ko-KR" altLang="en-US" sz="12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22141" y="3339410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**.do</a:t>
            </a:r>
            <a:endParaRPr lang="ko-KR" altLang="en-US" sz="12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5" name="순서도: 자기 디스크 14"/>
          <p:cNvSpPr/>
          <p:nvPr/>
        </p:nvSpPr>
        <p:spPr>
          <a:xfrm>
            <a:off x="8427401" y="1929731"/>
            <a:ext cx="1138686" cy="720306"/>
          </a:xfrm>
          <a:prstGeom prst="flowChartMagneticDisk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9" name="직선 화살표 연결선 18"/>
          <p:cNvCxnSpPr>
            <a:endCxn id="15" idx="2"/>
          </p:cNvCxnSpPr>
          <p:nvPr/>
        </p:nvCxnSpPr>
        <p:spPr>
          <a:xfrm>
            <a:off x="8052153" y="1530760"/>
            <a:ext cx="375248" cy="759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/>
          <p:cNvCxnSpPr>
            <a:endCxn id="15" idx="2"/>
          </p:cNvCxnSpPr>
          <p:nvPr/>
        </p:nvCxnSpPr>
        <p:spPr>
          <a:xfrm flipV="1">
            <a:off x="8052152" y="2289884"/>
            <a:ext cx="375249" cy="759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49813" y="743332"/>
            <a:ext cx="20569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상 화면 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후보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화면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+ 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0" name="순서도: 자기 디스크 39"/>
          <p:cNvSpPr/>
          <p:nvPr/>
        </p:nvSpPr>
        <p:spPr>
          <a:xfrm>
            <a:off x="4734773" y="3916188"/>
            <a:ext cx="1138686" cy="720306"/>
          </a:xfrm>
          <a:prstGeom prst="flowChartMagneticDisk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1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1" name="순서도: 자기 디스크 40"/>
          <p:cNvSpPr/>
          <p:nvPr/>
        </p:nvSpPr>
        <p:spPr>
          <a:xfrm>
            <a:off x="4734773" y="5106623"/>
            <a:ext cx="1138686" cy="720306"/>
          </a:xfrm>
          <a:prstGeom prst="flowChartMagneticDisk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1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6048167" y="5173506"/>
            <a:ext cx="807901" cy="57865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</a:t>
            </a: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3" name="순서도: 자기 디스크 42"/>
          <p:cNvSpPr/>
          <p:nvPr/>
        </p:nvSpPr>
        <p:spPr>
          <a:xfrm>
            <a:off x="6999633" y="5106623"/>
            <a:ext cx="1138686" cy="720306"/>
          </a:xfrm>
          <a:prstGeom prst="flowChartMagneticDisk">
            <a:avLst/>
          </a:prstGeom>
          <a:solidFill>
            <a:srgbClr val="FFFF00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결과 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4" name="순서도: 자기 디스크 43"/>
          <p:cNvSpPr/>
          <p:nvPr/>
        </p:nvSpPr>
        <p:spPr>
          <a:xfrm>
            <a:off x="8462530" y="3916188"/>
            <a:ext cx="1138686" cy="720306"/>
          </a:xfrm>
          <a:prstGeom prst="flowChartMagneticDisk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s-Is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45" name="직선 화살표 연결선 44"/>
          <p:cNvCxnSpPr>
            <a:stCxn id="41" idx="4"/>
            <a:endCxn id="39" idx="1"/>
          </p:cNvCxnSpPr>
          <p:nvPr/>
        </p:nvCxnSpPr>
        <p:spPr>
          <a:xfrm flipV="1">
            <a:off x="5873459" y="5462835"/>
            <a:ext cx="174708" cy="39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>
            <a:stCxn id="39" idx="3"/>
            <a:endCxn id="43" idx="2"/>
          </p:cNvCxnSpPr>
          <p:nvPr/>
        </p:nvCxnSpPr>
        <p:spPr>
          <a:xfrm>
            <a:off x="6856068" y="5462835"/>
            <a:ext cx="143565" cy="39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>
          <a:xfrm>
            <a:off x="7964592" y="5902477"/>
            <a:ext cx="805780" cy="59599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</a:t>
            </a: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검증</a:t>
            </a:r>
            <a:endParaRPr lang="ko-KR" altLang="en-US" dirty="0">
              <a:solidFill>
                <a:schemeClr val="tx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879613" y="3846492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-1</a:t>
            </a:r>
          </a:p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익일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882548" y="3850378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-0</a:t>
            </a:r>
          </a:p>
          <a:p>
            <a:r>
              <a:rPr lang="ko-KR" altLang="en-US" sz="14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당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일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4592700" y="4984926"/>
            <a:ext cx="5109462" cy="16110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TextBox 88"/>
          <p:cNvSpPr txBox="1"/>
          <p:nvPr/>
        </p:nvSpPr>
        <p:spPr>
          <a:xfrm>
            <a:off x="4746697" y="835409"/>
            <a:ext cx="20970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용 별도 시스템 구성</a:t>
            </a:r>
            <a:endParaRPr lang="en-US" altLang="ko-KR" sz="1400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칭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mdt.mobis.co.kr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4778987" y="2943072"/>
            <a:ext cx="1984839" cy="9002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일간 데이터 기준으로</a:t>
            </a:r>
            <a:endParaRPr lang="en-US" altLang="ko-KR" sz="1400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X</a:t>
            </a:r>
            <a:r>
              <a:rPr lang="en-US" altLang="ko-KR" sz="1400" baseline="30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구성 및 호출</a:t>
            </a:r>
            <a:endParaRPr lang="en-US" altLang="ko-KR" sz="1400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en-US" altLang="ko-KR" sz="105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TX : Transaction </a:t>
            </a:r>
            <a:endParaRPr lang="ko-KR" altLang="en-US" sz="105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5" name="순서도: 자기 디스크 94"/>
          <p:cNvSpPr/>
          <p:nvPr/>
        </p:nvSpPr>
        <p:spPr>
          <a:xfrm>
            <a:off x="5149783" y="2145995"/>
            <a:ext cx="1138686" cy="720306"/>
          </a:xfrm>
          <a:prstGeom prst="flowChartMagneticDisk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X</a:t>
            </a:r>
            <a:r>
              <a:rPr lang="en-US" altLang="ko-KR" sz="1400" baseline="300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데이터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96" name="직선 화살표 연결선 95"/>
          <p:cNvCxnSpPr>
            <a:stCxn id="95" idx="1"/>
          </p:cNvCxnSpPr>
          <p:nvPr/>
        </p:nvCxnSpPr>
        <p:spPr>
          <a:xfrm flipV="1">
            <a:off x="5719126" y="1886987"/>
            <a:ext cx="0" cy="2590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/>
          <p:cNvCxnSpPr>
            <a:stCxn id="40" idx="3"/>
            <a:endCxn id="41" idx="1"/>
          </p:cNvCxnSpPr>
          <p:nvPr/>
        </p:nvCxnSpPr>
        <p:spPr>
          <a:xfrm>
            <a:off x="5304116" y="4636494"/>
            <a:ext cx="0" cy="4701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267899" y="4719391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216407" y="5850868"/>
            <a:ext cx="784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생성 </a:t>
            </a:r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0" name="순서도: 자기 디스크 49"/>
          <p:cNvSpPr/>
          <p:nvPr/>
        </p:nvSpPr>
        <p:spPr>
          <a:xfrm>
            <a:off x="8462530" y="5106623"/>
            <a:ext cx="1138686" cy="720306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DB</a:t>
            </a:r>
          </a:p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D-0)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3" name="왼쪽/오른쪽 화살표 22"/>
          <p:cNvSpPr/>
          <p:nvPr/>
        </p:nvSpPr>
        <p:spPr>
          <a:xfrm>
            <a:off x="8190218" y="5246491"/>
            <a:ext cx="245936" cy="482914"/>
          </a:xfrm>
          <a:prstGeom prst="leftRightArrow">
            <a:avLst>
              <a:gd name="adj1" fmla="val 50000"/>
              <a:gd name="adj2" fmla="val 2559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TextBox 54"/>
          <p:cNvSpPr txBox="1"/>
          <p:nvPr/>
        </p:nvSpPr>
        <p:spPr>
          <a:xfrm>
            <a:off x="8319764" y="4706423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B</a:t>
            </a:r>
            <a:r>
              <a:rPr lang="ko-KR" altLang="en-US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</a:t>
            </a:r>
            <a:endParaRPr lang="ko-KR" altLang="en-US" sz="14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56" name="직선 화살표 연결선 55"/>
          <p:cNvCxnSpPr>
            <a:stCxn id="44" idx="3"/>
            <a:endCxn id="50" idx="1"/>
          </p:cNvCxnSpPr>
          <p:nvPr/>
        </p:nvCxnSpPr>
        <p:spPr>
          <a:xfrm>
            <a:off x="9031873" y="4636494"/>
            <a:ext cx="0" cy="4701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200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수행 방식은 각 업무 그룹과의 협의에 따라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4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가지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유형으로 분류하여 테스트를 진행함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</a:t>
            </a: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–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유형 분류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366075"/>
              </p:ext>
            </p:extLst>
          </p:nvPr>
        </p:nvGraphicFramePr>
        <p:xfrm>
          <a:off x="222886" y="1453660"/>
          <a:ext cx="9369693" cy="38976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19318">
                  <a:extLst>
                    <a:ext uri="{9D8B030D-6E8A-4147-A177-3AD203B41FA5}">
                      <a16:colId xmlns:a16="http://schemas.microsoft.com/office/drawing/2014/main" val="589782664"/>
                    </a:ext>
                  </a:extLst>
                </a:gridCol>
                <a:gridCol w="4848045">
                  <a:extLst>
                    <a:ext uri="{9D8B030D-6E8A-4147-A177-3AD203B41FA5}">
                      <a16:colId xmlns:a16="http://schemas.microsoft.com/office/drawing/2014/main" val="3891120407"/>
                    </a:ext>
                  </a:extLst>
                </a:gridCol>
                <a:gridCol w="700466">
                  <a:extLst>
                    <a:ext uri="{9D8B030D-6E8A-4147-A177-3AD203B41FA5}">
                      <a16:colId xmlns:a16="http://schemas.microsoft.com/office/drawing/2014/main" val="2597166111"/>
                    </a:ext>
                  </a:extLst>
                </a:gridCol>
                <a:gridCol w="700466">
                  <a:extLst>
                    <a:ext uri="{9D8B030D-6E8A-4147-A177-3AD203B41FA5}">
                      <a16:colId xmlns:a16="http://schemas.microsoft.com/office/drawing/2014/main" val="336778927"/>
                    </a:ext>
                  </a:extLst>
                </a:gridCol>
                <a:gridCol w="700466">
                  <a:extLst>
                    <a:ext uri="{9D8B030D-6E8A-4147-A177-3AD203B41FA5}">
                      <a16:colId xmlns:a16="http://schemas.microsoft.com/office/drawing/2014/main" val="4239758065"/>
                    </a:ext>
                  </a:extLst>
                </a:gridCol>
                <a:gridCol w="700466">
                  <a:extLst>
                    <a:ext uri="{9D8B030D-6E8A-4147-A177-3AD203B41FA5}">
                      <a16:colId xmlns:a16="http://schemas.microsoft.com/office/drawing/2014/main" val="3349862526"/>
                    </a:ext>
                  </a:extLst>
                </a:gridCol>
                <a:gridCol w="700466">
                  <a:extLst>
                    <a:ext uri="{9D8B030D-6E8A-4147-A177-3AD203B41FA5}">
                      <a16:colId xmlns:a16="http://schemas.microsoft.com/office/drawing/2014/main" val="763381432"/>
                    </a:ext>
                  </a:extLst>
                </a:gridCol>
              </a:tblGrid>
              <a:tr h="2888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방식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행 방식 요약</a:t>
                      </a: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  <a:endParaRPr lang="ko-KR" altLang="en-US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328693"/>
                  </a:ext>
                </a:extLst>
              </a:tr>
              <a:tr h="9022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I</a:t>
                      </a:r>
                      <a:r>
                        <a:rPr lang="en-US" altLang="ko-KR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</a:t>
                      </a:r>
                      <a:r>
                        <a:rPr lang="ko-KR" altLang="en-US" sz="1200" spc="-150" baseline="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동 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+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검증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일간 발생한 트랜잭션 데이터 추출 및 분석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ID, Input, Output)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하여 </a:t>
                      </a:r>
                      <a:r>
                        <a:rPr kumimoji="1" lang="en-US" altLang="ko-KR" sz="1200" b="0" i="0" u="none" strike="noStrike" kern="1200" cap="none" spc="0" normalizeH="0" baseline="0" noProof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n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같은 방식으로 재연하여 결과를 검증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UI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 또는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Interface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데이터 기반으로 구현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150833"/>
                  </a:ext>
                </a:extLst>
              </a:tr>
              <a:tr h="9022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I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단순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동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일간 발생한 트랜잭션 데이터 추출 및 분석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ID, Input, Output)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하여 </a:t>
                      </a:r>
                      <a:r>
                        <a:rPr kumimoji="1" lang="en-US" altLang="ko-KR" sz="1200" b="0" i="0" u="none" strike="noStrike" kern="1200" cap="none" spc="0" normalizeH="0" baseline="0" noProof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n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같은 방식으로 재연 처리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결과 검증은 자체 파트에서 진행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UI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트랜잭션 또는 </a:t>
                      </a: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Interface 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데이터 기반으로 구현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141806"/>
                  </a:ext>
                </a:extLst>
              </a:tr>
              <a:tr h="9022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I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단순 구동</a:t>
                      </a:r>
                      <a:endParaRPr lang="en-US" altLang="ko-KR" sz="1200" spc="-150" dirty="0" smtClean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부하 </a:t>
                      </a:r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생 </a:t>
                      </a:r>
                      <a:r>
                        <a:rPr lang="en-US" altLang="ko-KR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수일간 발생한 트랜잭션 데이터를 추출하여 성능 부하 위주의 테스트 진행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864478"/>
                  </a:ext>
                </a:extLst>
              </a:tr>
              <a:tr h="9022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pc="-150" dirty="0" smtClean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 구동</a:t>
                      </a:r>
                      <a:endParaRPr lang="ko-KR" altLang="en-US" sz="1200" spc="-150" dirty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구동된 주요 배치의 테스트 수행 내역을 </a:t>
                      </a:r>
                      <a:r>
                        <a:rPr kumimoji="1" lang="en-US" altLang="ko-KR" sz="1200" b="0" i="0" u="none" strike="noStrike" kern="1200" cap="none" spc="0" normalizeH="0" baseline="0" noProof="0" dirty="0" err="1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nSMART</a:t>
                      </a: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에서 같은 방식으로 재연하여 결과값을 검증</a:t>
                      </a: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92075" marR="0" lvl="0" indent="-793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 또는 서비스 데이터 기반으로 구현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 smtClean="0">
                          <a:ln>
                            <a:solidFill>
                              <a:srgbClr val="C0C0C0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</a:t>
                      </a:r>
                      <a:endParaRPr kumimoji="1" lang="ko-KR" altLang="en-US" sz="1200" b="0" i="0" u="none" strike="noStrike" kern="1200" cap="none" spc="-150" normalizeH="0" baseline="0" dirty="0">
                        <a:ln>
                          <a:solidFill>
                            <a:srgbClr val="C0C0C0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10790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926" y="5351348"/>
            <a:ext cx="74510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 구동은 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시스템을 태우지 않고 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념만 차용하여 진행할 예정임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 ([D-1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서 배치 당일 진행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]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↔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[D-0]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교 컨셉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00025" y="1777043"/>
            <a:ext cx="9392554" cy="2622430"/>
          </a:xfrm>
          <a:prstGeom prst="rect">
            <a:avLst/>
          </a:prstGeom>
          <a:solidFill>
            <a:srgbClr val="FEADA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0000FF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MDT </a:t>
            </a:r>
            <a:r>
              <a:rPr lang="ko-KR" altLang="en-US" dirty="0" smtClean="0">
                <a:solidFill>
                  <a:srgbClr val="0000FF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스템 사용</a:t>
            </a:r>
            <a:endParaRPr lang="ko-KR" altLang="en-US" dirty="0">
              <a:solidFill>
                <a:srgbClr val="0000FF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2165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-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국내영업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205320" y="800100"/>
            <a:ext cx="95910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대상 화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3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화면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UF002 C/S</a:t>
            </a: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소액업체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예약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/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판매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UF003 S/S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판매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UW019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도매 조치 증표 현황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34" name="TextBox 233"/>
          <p:cNvSpPr txBox="1"/>
          <p:nvPr/>
        </p:nvSpPr>
        <p:spPr>
          <a:xfrm>
            <a:off x="2813050" y="2551483"/>
            <a:ext cx="3924300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기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DT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컨셉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유지</a:t>
            </a: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algn="ctr"/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앞장 구성 참조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384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스템 구축 방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-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물류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205320" y="800100"/>
            <a:ext cx="95219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대상 화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3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개 화면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LI101P Local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입고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내수물류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, LI121P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일반 이관 입고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, LF425P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도매판매발송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3268" y="1303838"/>
            <a:ext cx="9302532" cy="175432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물류 파트는 주요 업무에 대한 </a:t>
            </a:r>
            <a:r>
              <a:rPr lang="ko-KR" altLang="en-US" b="1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</a:t>
            </a:r>
            <a:r>
              <a:rPr lang="ko-KR" altLang="en-US" b="1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부하테스트 </a:t>
            </a:r>
            <a:r>
              <a:rPr lang="ko-KR" altLang="en-US" b="1" dirty="0" smtClean="0">
                <a:solidFill>
                  <a:srgbClr val="0000CC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요청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범위는 하루치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 Data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 아닌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</a:t>
            </a:r>
            <a:r>
              <a:rPr lang="ko-KR" altLang="en-US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주일치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 Data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대량으로 전송하여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/>
            </a:r>
            <a:b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</a:b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다양한 케이스를 통한 시스템의 부하 검증 필요</a:t>
            </a:r>
            <a:endParaRPr lang="en-US" altLang="ko-KR" dirty="0" smtClean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물류 파트는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트랜잭션 데이터 부하 생성에 초점을 맞추어 진행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 </a:t>
            </a:r>
          </a:p>
          <a:p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성능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</a:t>
            </a:r>
            <a:r>
              <a:rPr lang="ko-KR" altLang="en-US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부하시험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시에도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해당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 Data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활용 테스트 방안에 대해서는 </a:t>
            </a:r>
            <a:r>
              <a:rPr lang="ko-KR" altLang="en-US" dirty="0" err="1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오토에버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부하테스트 </a:t>
            </a: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/>
            </a:r>
            <a:b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</a:br>
            <a:r>
              <a:rPr lang="en-US" altLang="ko-KR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</a:t>
            </a:r>
            <a:r>
              <a:rPr lang="ko-KR" altLang="en-US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담당자와 추가 협의 필요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2558815" y="4149357"/>
            <a:ext cx="1911350" cy="1231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579321" y="3258081"/>
            <a:ext cx="825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To-Be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38072" y="4496468"/>
            <a:ext cx="1605588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파라미터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전송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19" name="순서도: 자기 디스크 18"/>
          <p:cNvSpPr/>
          <p:nvPr/>
        </p:nvSpPr>
        <p:spPr>
          <a:xfrm>
            <a:off x="8137796" y="4333853"/>
            <a:ext cx="1138686" cy="720306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-Be DB</a:t>
            </a:r>
          </a:p>
        </p:txBody>
      </p:sp>
      <p:sp>
        <p:nvSpPr>
          <p:cNvPr id="20" name="왼쪽/오른쪽 화살표 19"/>
          <p:cNvSpPr/>
          <p:nvPr/>
        </p:nvSpPr>
        <p:spPr>
          <a:xfrm>
            <a:off x="7436140" y="4473721"/>
            <a:ext cx="675280" cy="482914"/>
          </a:xfrm>
          <a:prstGeom prst="leftRightArrow">
            <a:avLst>
              <a:gd name="adj1" fmla="val 50000"/>
              <a:gd name="adj2" fmla="val 2559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5405359" y="3708870"/>
            <a:ext cx="2030781" cy="22988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3068419" y="3933081"/>
            <a:ext cx="944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 smtClean="0"/>
              <a:t>MDT</a:t>
            </a:r>
            <a:endParaRPr lang="ko-KR" altLang="en-US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5840769" y="3460934"/>
            <a:ext cx="1212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 err="1" smtClean="0"/>
              <a:t>nPlus</a:t>
            </a:r>
            <a:endParaRPr lang="ko-KR" altLang="en-US" b="1" dirty="0"/>
          </a:p>
        </p:txBody>
      </p:sp>
      <p:cxnSp>
        <p:nvCxnSpPr>
          <p:cNvPr id="25" name="직선 화살표 연결선 24"/>
          <p:cNvCxnSpPr>
            <a:stCxn id="9" idx="1"/>
            <a:endCxn id="31" idx="3"/>
          </p:cNvCxnSpPr>
          <p:nvPr/>
        </p:nvCxnSpPr>
        <p:spPr>
          <a:xfrm flipH="1" flipV="1">
            <a:off x="2091218" y="4022791"/>
            <a:ext cx="646854" cy="65834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이중 물결 30"/>
          <p:cNvSpPr/>
          <p:nvPr/>
        </p:nvSpPr>
        <p:spPr>
          <a:xfrm>
            <a:off x="578612" y="3795317"/>
            <a:ext cx="1512606" cy="454947"/>
          </a:xfrm>
          <a:prstGeom prst="doubleWave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rgbClr val="FF0000"/>
                </a:solidFill>
              </a:rPr>
              <a:t>Local </a:t>
            </a:r>
            <a:r>
              <a:rPr lang="ko-KR" altLang="en-US" sz="1200" b="1" dirty="0" smtClean="0">
                <a:solidFill>
                  <a:srgbClr val="FF0000"/>
                </a:solidFill>
              </a:rPr>
              <a:t>입고 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/>
            </a:r>
            <a:br>
              <a:rPr lang="en-US" altLang="ko-KR" sz="1200" b="1" dirty="0" smtClean="0">
                <a:solidFill>
                  <a:srgbClr val="FF0000"/>
                </a:solidFill>
              </a:rPr>
            </a:br>
            <a:r>
              <a:rPr lang="en-US" altLang="ko-KR" sz="1200" b="1" dirty="0" smtClean="0">
                <a:solidFill>
                  <a:srgbClr val="FF0000"/>
                </a:solidFill>
              </a:rPr>
              <a:t>Input Data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4" name="이중 물결 33"/>
          <p:cNvSpPr/>
          <p:nvPr/>
        </p:nvSpPr>
        <p:spPr>
          <a:xfrm>
            <a:off x="578612" y="4455232"/>
            <a:ext cx="1512606" cy="454947"/>
          </a:xfrm>
          <a:prstGeom prst="doubleWave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rgbClr val="FF0000"/>
                </a:solidFill>
              </a:rPr>
              <a:t>일반 이관 입고 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>Input Data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5" name="이중 물결 34"/>
          <p:cNvSpPr/>
          <p:nvPr/>
        </p:nvSpPr>
        <p:spPr>
          <a:xfrm>
            <a:off x="578612" y="5125160"/>
            <a:ext cx="1512606" cy="454947"/>
          </a:xfrm>
          <a:prstGeom prst="doubleWave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rgbClr val="FF0000"/>
                </a:solidFill>
              </a:rPr>
              <a:t>도매판매발송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/>
            </a:r>
            <a:br>
              <a:rPr lang="en-US" altLang="ko-KR" sz="1200" b="1" dirty="0" smtClean="0">
                <a:solidFill>
                  <a:srgbClr val="FF0000"/>
                </a:solidFill>
              </a:rPr>
            </a:br>
            <a:r>
              <a:rPr lang="en-US" altLang="ko-KR" sz="1200" b="1" dirty="0" smtClean="0">
                <a:solidFill>
                  <a:srgbClr val="FF0000"/>
                </a:solidFill>
              </a:rPr>
              <a:t>Input Data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cxnSp>
        <p:nvCxnSpPr>
          <p:cNvPr id="28" name="직선 화살표 연결선 27"/>
          <p:cNvCxnSpPr>
            <a:stCxn id="9" idx="1"/>
          </p:cNvCxnSpPr>
          <p:nvPr/>
        </p:nvCxnSpPr>
        <p:spPr>
          <a:xfrm flipH="1">
            <a:off x="2056898" y="4681134"/>
            <a:ext cx="681174" cy="3832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/>
          <p:cNvCxnSpPr/>
          <p:nvPr/>
        </p:nvCxnSpPr>
        <p:spPr>
          <a:xfrm flipH="1">
            <a:off x="2036418" y="4819634"/>
            <a:ext cx="701654" cy="61246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748987" y="4700097"/>
            <a:ext cx="1396536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일반이관입고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748987" y="5352634"/>
            <a:ext cx="1396536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도매판매발송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48987" y="4022791"/>
            <a:ext cx="1396536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Local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입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고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cxnSp>
        <p:nvCxnSpPr>
          <p:cNvPr id="38" name="직선 화살표 연결선 37"/>
          <p:cNvCxnSpPr>
            <a:stCxn id="9" idx="3"/>
            <a:endCxn id="18" idx="1"/>
          </p:cNvCxnSpPr>
          <p:nvPr/>
        </p:nvCxnSpPr>
        <p:spPr>
          <a:xfrm flipV="1">
            <a:off x="4343660" y="4207457"/>
            <a:ext cx="1405327" cy="47367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>
            <a:stCxn id="9" idx="3"/>
            <a:endCxn id="8" idx="1"/>
          </p:cNvCxnSpPr>
          <p:nvPr/>
        </p:nvCxnSpPr>
        <p:spPr>
          <a:xfrm>
            <a:off x="4343660" y="4681134"/>
            <a:ext cx="1405327" cy="20362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화살표 연결선 41"/>
          <p:cNvCxnSpPr>
            <a:stCxn id="9" idx="3"/>
          </p:cNvCxnSpPr>
          <p:nvPr/>
        </p:nvCxnSpPr>
        <p:spPr>
          <a:xfrm>
            <a:off x="4343660" y="4681134"/>
            <a:ext cx="1392046" cy="745441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3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기본 디자인">
  <a:themeElements>
    <a:clrScheme name="사용자 지정 1">
      <a:dk1>
        <a:srgbClr val="000000"/>
      </a:dk1>
      <a:lt1>
        <a:srgbClr val="FFFFFF"/>
      </a:lt1>
      <a:dk2>
        <a:srgbClr val="CCCCFF"/>
      </a:dk2>
      <a:lt2>
        <a:srgbClr val="727272"/>
      </a:lt2>
      <a:accent1>
        <a:srgbClr val="003399"/>
      </a:accent1>
      <a:accent2>
        <a:srgbClr val="7889FB"/>
      </a:accent2>
      <a:accent3>
        <a:srgbClr val="DED3B6"/>
      </a:accent3>
      <a:accent4>
        <a:srgbClr val="000000"/>
      </a:accent4>
      <a:accent5>
        <a:srgbClr val="C0C0C0"/>
      </a:accent5>
      <a:accent6>
        <a:srgbClr val="6C7CE3"/>
      </a:accent6>
      <a:hlink>
        <a:srgbClr val="DED3B6"/>
      </a:hlink>
      <a:folHlink>
        <a:srgbClr val="DDDDDD"/>
      </a:folHlink>
    </a:clrScheme>
    <a:fontScheme name="사용자 지정 1">
      <a:majorFont>
        <a:latin typeface="현대하모니 M"/>
        <a:ea typeface="현대하모니 M"/>
        <a:cs typeface=""/>
      </a:majorFont>
      <a:minorFont>
        <a:latin typeface="현대하모니 M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8F8F8"/>
        </a:solidFill>
        <a:ln w="3175"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1000"/>
          </a:spcBef>
          <a:defRPr sz="1300" dirty="0" smtClean="0">
            <a:ln>
              <a:solidFill>
                <a:schemeClr val="bg1">
                  <a:lumMod val="75000"/>
                  <a:alpha val="0"/>
                </a:schemeClr>
              </a:solidFill>
            </a:ln>
            <a:solidFill>
              <a:schemeClr val="tx1"/>
            </a:solidFill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300" dirty="0" err="1" smtClean="0">
            <a:ln>
              <a:solidFill>
                <a:srgbClr val="000000">
                  <a:alpha val="0"/>
                </a:srgbClr>
              </a:solidFill>
            </a:ln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3">
        <a:dk1>
          <a:srgbClr val="000000"/>
        </a:dk1>
        <a:lt1>
          <a:srgbClr val="FFFFFF"/>
        </a:lt1>
        <a:dk2>
          <a:srgbClr val="CCCCFF"/>
        </a:dk2>
        <a:lt2>
          <a:srgbClr val="727272"/>
        </a:lt2>
        <a:accent1>
          <a:srgbClr val="003399"/>
        </a:accent1>
        <a:accent2>
          <a:srgbClr val="7889FB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6C7CE3"/>
        </a:accent6>
        <a:hlink>
          <a:srgbClr val="DED3B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704b26-1c9b-4fa5-99ef-32b8747908c9" xsi:nil="true"/>
    <lcf76f155ced4ddcb4097134ff3c332f xmlns="3cdd693e-0914-42b2-bcc3-6d41f0d2042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8CF358E528B4A4C8E895FFA285DDF78" ma:contentTypeVersion="11" ma:contentTypeDescription="새 문서를 만듭니다." ma:contentTypeScope="" ma:versionID="791bf665e68da28aeb078ab645f2c0bc">
  <xsd:schema xmlns:xsd="http://www.w3.org/2001/XMLSchema" xmlns:xs="http://www.w3.org/2001/XMLSchema" xmlns:p="http://schemas.microsoft.com/office/2006/metadata/properties" xmlns:ns2="3cdd693e-0914-42b2-bcc3-6d41f0d20422" xmlns:ns3="85704b26-1c9b-4fa5-99ef-32b8747908c9" targetNamespace="http://schemas.microsoft.com/office/2006/metadata/properties" ma:root="true" ma:fieldsID="774be20a63e20b803a849b1155d7da83" ns2:_="" ns3:_="">
    <xsd:import namespace="3cdd693e-0914-42b2-bcc3-6d41f0d20422"/>
    <xsd:import namespace="85704b26-1c9b-4fa5-99ef-32b8747908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d693e-0914-42b2-bcc3-6d41f0d204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이미지 태그" ma:readOnly="false" ma:fieldId="{5cf76f15-5ced-4ddc-b409-7134ff3c332f}" ma:taxonomyMulti="true" ma:sspId="98b4ddb5-9792-4103-acad-6387fb66c9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704b26-1c9b-4fa5-99ef-32b8747908c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04bacf9-c76d-4570-bd63-8b7c948c8b31}" ma:internalName="TaxCatchAll" ma:showField="CatchAllData" ma:web="85704b26-1c9b-4fa5-99ef-32b8747908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90F085-0301-4DB6-938C-5EF6CE2ED311}">
  <ds:schemaRefs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6043768e-d830-46a9-ad1f-9823f3fde69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9BD8FE5-D7F5-43A0-A762-8B7F17A4F5EC}"/>
</file>

<file path=customXml/itemProps3.xml><?xml version="1.0" encoding="utf-8"?>
<ds:datastoreItem xmlns:ds="http://schemas.openxmlformats.org/officeDocument/2006/customXml" ds:itemID="{CC3A23E0-2096-49D9-ACD8-CF0A4A6B75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0060d82-8c13-4667-8f41-3eac58da9617}" enabled="1" method="Privileged" siteId="{c3009ee9-85dd-4ecf-a86f-79941767d706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9969</TotalTime>
  <Words>3695</Words>
  <Application>Microsoft Office PowerPoint</Application>
  <PresentationFormat>A4 용지(210x297mm)</PresentationFormat>
  <Paragraphs>819</Paragraphs>
  <Slides>16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6</vt:i4>
      </vt:variant>
      <vt:variant>
        <vt:lpstr>테마</vt:lpstr>
      </vt:variant>
      <vt:variant>
        <vt:i4>9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6</vt:i4>
      </vt:variant>
    </vt:vector>
  </HeadingPairs>
  <TitlesOfParts>
    <vt:vector size="42" baseType="lpstr">
      <vt:lpstr>KoPub돋움체 Bold</vt:lpstr>
      <vt:lpstr>KoPub돋움체 Light</vt:lpstr>
      <vt:lpstr>KoPub돋움체 Medium</vt:lpstr>
      <vt:lpstr>Open Sans</vt:lpstr>
      <vt:lpstr>굴림</vt:lpstr>
      <vt:lpstr>나눔바른고딕</vt:lpstr>
      <vt:lpstr>맑은 고딕</vt:lpstr>
      <vt:lpstr>현대하모니 B</vt:lpstr>
      <vt:lpstr>현대하모니 L</vt:lpstr>
      <vt:lpstr>현대하모니 M</vt:lpstr>
      <vt:lpstr>Arial</vt:lpstr>
      <vt:lpstr>Calibri</vt:lpstr>
      <vt:lpstr>Calibri Light</vt:lpstr>
      <vt:lpstr>Segoe UI</vt:lpstr>
      <vt:lpstr>Symbol</vt:lpstr>
      <vt:lpstr>Wingdings</vt:lpstr>
      <vt:lpstr>Office 테마</vt:lpstr>
      <vt:lpstr>4_기본 디자인</vt:lpstr>
      <vt:lpstr>2_Office 테마</vt:lpstr>
      <vt:lpstr>3_Office 테마</vt:lpstr>
      <vt:lpstr>4_Office 테마</vt:lpstr>
      <vt:lpstr>5_기본 디자인</vt:lpstr>
      <vt:lpstr>6_기본 디자인</vt:lpstr>
      <vt:lpstr>7_기본 디자인</vt:lpstr>
      <vt:lpstr>8_기본 디자인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AE</dc:creator>
  <cp:lastModifiedBy>이승용 IT지원</cp:lastModifiedBy>
  <cp:revision>1092</cp:revision>
  <dcterms:created xsi:type="dcterms:W3CDTF">2022-04-26T07:14:23Z</dcterms:created>
  <dcterms:modified xsi:type="dcterms:W3CDTF">2023-09-04T00:0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CF358E528B4A4C8E895FFA285DDF78</vt:lpwstr>
  </property>
  <property fmtid="{D5CDD505-2E9C-101B-9397-08002B2CF9AE}" pid="3" name="ClassificationContentMarkingFooterLocations">
    <vt:lpwstr>Office 테마:3\4_기본 디자인:3\2_Office 테마:3</vt:lpwstr>
  </property>
  <property fmtid="{D5CDD505-2E9C-101B-9397-08002B2CF9AE}" pid="4" name="ClassificationContentMarkingFooterText">
    <vt:lpwstr>일반(Anyuser)/today@hyundai-autoever.com 본 문서는 HyundaiAutoever의 정보자산이므로 무단으로 전재 및 복제할 수 없으며, 이를 위반할 시에는 당사 사규 및 관련 법규에 의해 제재를 받을 수 있습니다.</vt:lpwstr>
  </property>
  <property fmtid="{D5CDD505-2E9C-101B-9397-08002B2CF9AE}" pid="5" name="MSIP_Label_c6d9a7a2-a2c9-479c-a560-d79de4b6971b_Enabled">
    <vt:lpwstr>true</vt:lpwstr>
  </property>
  <property fmtid="{D5CDD505-2E9C-101B-9397-08002B2CF9AE}" pid="6" name="MSIP_Label_c6d9a7a2-a2c9-479c-a560-d79de4b6971b_SetDate">
    <vt:lpwstr>2023-09-04T00:07:40Z</vt:lpwstr>
  </property>
  <property fmtid="{D5CDD505-2E9C-101B-9397-08002B2CF9AE}" pid="7" name="MSIP_Label_c6d9a7a2-a2c9-479c-a560-d79de4b6971b_Method">
    <vt:lpwstr>Privileged</vt:lpwstr>
  </property>
  <property fmtid="{D5CDD505-2E9C-101B-9397-08002B2CF9AE}" pid="8" name="MSIP_Label_c6d9a7a2-a2c9-479c-a560-d79de4b6971b_Name">
    <vt:lpwstr>사외 정책</vt:lpwstr>
  </property>
  <property fmtid="{D5CDD505-2E9C-101B-9397-08002B2CF9AE}" pid="9" name="MSIP_Label_c6d9a7a2-a2c9-479c-a560-d79de4b6971b_SiteId">
    <vt:lpwstr>7cf932c0-bced-4490-b11f-48d23b1fe0d9</vt:lpwstr>
  </property>
  <property fmtid="{D5CDD505-2E9C-101B-9397-08002B2CF9AE}" pid="10" name="MSIP_Label_c6d9a7a2-a2c9-479c-a560-d79de4b6971b_ActionId">
    <vt:lpwstr>9f08ef2f-c894-4e3a-86a0-b9199b5bf1fd</vt:lpwstr>
  </property>
  <property fmtid="{D5CDD505-2E9C-101B-9397-08002B2CF9AE}" pid="11" name="MSIP_Label_c6d9a7a2-a2c9-479c-a560-d79de4b6971b_ContentBits">
    <vt:lpwstr>6</vt:lpwstr>
  </property>
  <property fmtid="{D5CDD505-2E9C-101B-9397-08002B2CF9AE}" pid="12" name="Order">
    <vt:r8>3360200</vt:r8>
  </property>
</Properties>
</file>